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2.xml" ContentType="application/vnd.openxmlformats-officedocument.theme+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theme/themeOverride1.xml" ContentType="application/vnd.openxmlformats-officedocument.themeOverrid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1" r:id="rId1"/>
    <p:sldMasterId id="2147483672" r:id="rId2"/>
    <p:sldMasterId id="2147483685" r:id="rId3"/>
  </p:sldMasterIdLst>
  <p:notesMasterIdLst>
    <p:notesMasterId r:id="rId9"/>
  </p:notesMasterIdLst>
  <p:sldIdLst>
    <p:sldId id="324" r:id="rId4"/>
    <p:sldId id="377" r:id="rId5"/>
    <p:sldId id="381" r:id="rId6"/>
    <p:sldId id="382" r:id="rId7"/>
    <p:sldId id="335" r:id="rId8"/>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5DA5B084-D1F6-4CBE-8F6A-7010C0A31AFB}">
          <p14:sldIdLst>
            <p14:sldId id="324"/>
            <p14:sldId id="377"/>
            <p14:sldId id="381"/>
            <p14:sldId id="382"/>
            <p14:sldId id="335"/>
          </p14:sldIdLst>
        </p14:section>
        <p14:section name="Untitled Section" id="{83DF027A-FDA3-431F-BF55-FAEE98CB4BFE}">
          <p14:sldIdLst/>
        </p14:section>
      </p14:sectionLst>
    </p:ext>
    <p:ext uri="{EFAFB233-063F-42B5-8137-9DF3F51BA10A}">
      <p15:sldGuideLst xmlns:p15="http://schemas.microsoft.com/office/powerpoint/2012/main">
        <p15:guide id="1" orient="horz" pos="2160">
          <p15:clr>
            <a:srgbClr val="A4A3A4"/>
          </p15:clr>
        </p15:guide>
        <p15:guide id="2" pos="384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EB344D84-9AFB-497E-A393-DC336BA19D2E}" styleName="Medium Style 3 - Accent 3">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3"/>
          </a:solidFill>
        </a:fill>
      </a:tcStyle>
    </a:lastCol>
    <a:firstCol>
      <a:tcTxStyle b="on">
        <a:fontRef idx="minor">
          <a:scrgbClr r="0" g="0" b="0"/>
        </a:fontRef>
        <a:schemeClr val="lt1"/>
      </a:tcTxStyle>
      <a:tcStyle>
        <a:tcBdr/>
        <a:fill>
          <a:solidFill>
            <a:schemeClr val="accent3"/>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3"/>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8799B23B-EC83-4686-B30A-512413B5E67A}" styleName="Light Style 3 - Accent 3">
    <a:wholeTbl>
      <a:tcTxStyle>
        <a:fontRef idx="minor">
          <a:scrgbClr r="0" g="0" b="0"/>
        </a:fontRef>
        <a:schemeClr val="tx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noFill/>
        </a:fill>
      </a:tcStyle>
    </a:wholeTbl>
    <a:band1H>
      <a:tcStyle>
        <a:tcBdr/>
        <a:fill>
          <a:solidFill>
            <a:schemeClr val="accent3">
              <a:alpha val="20000"/>
            </a:schemeClr>
          </a:solidFill>
        </a:fill>
      </a:tcStyle>
    </a:band1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noFill/>
        </a:fill>
      </a:tcStyle>
    </a:lastRow>
    <a:firstRow>
      <a:tcTxStyle b="on"/>
      <a:tcStyle>
        <a:tcBdr>
          <a:bottom>
            <a:ln w="25400" cmpd="sng">
              <a:solidFill>
                <a:schemeClr val="accent3"/>
              </a:solidFill>
            </a:ln>
          </a:bottom>
        </a:tcBdr>
        <a:fill>
          <a:noFill/>
        </a:fill>
      </a:tcStyle>
    </a:firstRow>
  </a:tblStyle>
  <a:tblStyle styleId="{C083E6E3-FA7D-4D7B-A595-EF9225AFEA82}" styleName="Light Style 1 - Acc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F2DE63D5-997A-4646-A377-4702673A728D}" styleName="Light Style 2 - Accent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31" autoAdjust="0"/>
    <p:restoredTop sz="94660"/>
  </p:normalViewPr>
  <p:slideViewPr>
    <p:cSldViewPr snapToGrid="0">
      <p:cViewPr varScale="1">
        <p:scale>
          <a:sx n="80" d="100"/>
          <a:sy n="80" d="100"/>
        </p:scale>
        <p:origin x="682" y="48"/>
      </p:cViewPr>
      <p:guideLst>
        <p:guide orient="horz" pos="2160"/>
        <p:guide pos="3840"/>
      </p:guideLst>
    </p:cSldViewPr>
  </p:slideViewPr>
  <p:notesTextViewPr>
    <p:cViewPr>
      <p:scale>
        <a:sx n="1" d="1"/>
        <a:sy n="1" d="1"/>
      </p:scale>
      <p:origin x="0" y="0"/>
    </p:cViewPr>
  </p:notesTextViewPr>
  <p:sorterViewPr>
    <p:cViewPr varScale="1">
      <p:scale>
        <a:sx n="1" d="1"/>
        <a:sy n="1" d="1"/>
      </p:scale>
      <p:origin x="0" y="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5.xml"/><Relationship Id="rId13" Type="http://schemas.openxmlformats.org/officeDocument/2006/relationships/tableStyles" Target="tableStyles.xml"/><Relationship Id="rId3" Type="http://schemas.openxmlformats.org/officeDocument/2006/relationships/slideMaster" Target="slideMasters/slideMaster3.xml"/><Relationship Id="rId7" Type="http://schemas.openxmlformats.org/officeDocument/2006/relationships/slide" Target="slides/slide4.xml"/><Relationship Id="rId12" Type="http://schemas.openxmlformats.org/officeDocument/2006/relationships/theme" Target="theme/theme1.xml"/><Relationship Id="rId2" Type="http://schemas.openxmlformats.org/officeDocument/2006/relationships/slideMaster" Target="slideMasters/slideMaster2.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viewProps" Target="viewProps.xml"/><Relationship Id="rId5" Type="http://schemas.openxmlformats.org/officeDocument/2006/relationships/slide" Target="slides/slide2.xml"/><Relationship Id="rId10" Type="http://schemas.openxmlformats.org/officeDocument/2006/relationships/presProps" Target="presProps.xml"/><Relationship Id="rId4" Type="http://schemas.openxmlformats.org/officeDocument/2006/relationships/slide" Target="slides/slide1.xml"/><Relationship Id="rId9" Type="http://schemas.openxmlformats.org/officeDocument/2006/relationships/notesMaster" Target="notesMasters/notes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4.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IN"/>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BFCB0B0-2C55-4115-9BA0-B9F2DA6825A6}" type="datetimeFigureOut">
              <a:rPr lang="en-IN" smtClean="0"/>
              <a:t>07-10-2022</a:t>
            </a:fld>
            <a:endParaRPr lang="en-IN"/>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IN"/>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IN"/>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BFB65EF0-E336-43E3-B78E-954E55890C86}" type="slidenum">
              <a:rPr lang="en-IN" smtClean="0"/>
              <a:t>‹#›</a:t>
            </a:fld>
            <a:endParaRPr lang="en-IN"/>
          </a:p>
        </p:txBody>
      </p:sp>
    </p:spTree>
    <p:extLst>
      <p:ext uri="{BB962C8B-B14F-4D97-AF65-F5344CB8AC3E}">
        <p14:creationId xmlns:p14="http://schemas.microsoft.com/office/powerpoint/2010/main" val="39712312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a:bodyPr>
          <a:lstStyle/>
          <a:p>
            <a:endParaRPr/>
          </a:p>
        </p:txBody>
      </p:sp>
    </p:spTree>
    <p:extLst>
      <p:ext uri="{BB962C8B-B14F-4D97-AF65-F5344CB8AC3E}">
        <p14:creationId xmlns:p14="http://schemas.microsoft.com/office/powerpoint/2010/main" val="102875858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A63730B-371C-43D4-82CD-5025C5B32243}" type="slidenum">
              <a:rPr kumimoji="0" lang="en-IN"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IN"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35750964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A63730B-371C-43D4-82CD-5025C5B32243}" type="slidenum">
              <a:rPr kumimoji="0" lang="en-IN"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IN"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41429650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A63730B-371C-43D4-82CD-5025C5B32243}" type="slidenum">
              <a:rPr kumimoji="0" lang="en-IN"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IN"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70094667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2.emf"/><Relationship Id="rId2" Type="http://schemas.openxmlformats.org/officeDocument/2006/relationships/tags" Target="../tags/tag19.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microsoft.com/office/2007/relationships/hdphoto" Target="../media/hdphoto1.wdp"/><Relationship Id="rId4" Type="http://schemas.openxmlformats.org/officeDocument/2006/relationships/image" Target="../media/image3.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0.xml"/><Relationship Id="rId1" Type="http://schemas.openxmlformats.org/officeDocument/2006/relationships/vmlDrawing" Target="../drawings/vmlDrawing3.vml"/><Relationship Id="rId5" Type="http://schemas.openxmlformats.org/officeDocument/2006/relationships/image" Target="../media/image4.emf"/><Relationship Id="rId4" Type="http://schemas.openxmlformats.org/officeDocument/2006/relationships/oleObject" Target="../embeddings/oleObject3.bin"/></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21" name="Picture 20">
            <a:extLst>
              <a:ext uri="{FF2B5EF4-FFF2-40B4-BE49-F238E27FC236}">
                <a16:creationId xmlns:a16="http://schemas.microsoft.com/office/drawing/2014/main" id="{B494D4A5-F03E-4980-A019-AA27194815FC}"/>
              </a:ext>
            </a:extLst>
          </p:cNvPr>
          <p:cNvPicPr>
            <a:picLocks noChangeAspect="1"/>
          </p:cNvPicPr>
          <p:nvPr userDrawn="1"/>
        </p:nvPicPr>
        <p:blipFill rotWithShape="1">
          <a:blip r:embed="rId4">
            <a:duotone>
              <a:schemeClr val="bg2">
                <a:shade val="45000"/>
                <a:satMod val="135000"/>
              </a:schemeClr>
              <a:prstClr val="white"/>
            </a:duotone>
            <a:extLst>
              <a:ext uri="{BEBA8EAE-BF5A-486C-A8C5-ECC9F3942E4B}">
                <a14:imgProps xmlns:a14="http://schemas.microsoft.com/office/drawing/2010/main">
                  <a14:imgLayer r:embed="rId5">
                    <a14:imgEffect>
                      <a14:saturation sat="0"/>
                    </a14:imgEffect>
                  </a14:imgLayer>
                </a14:imgProps>
              </a:ext>
              <a:ext uri="{28A0092B-C50C-407E-A947-70E740481C1C}">
                <a14:useLocalDpi xmlns:a14="http://schemas.microsoft.com/office/drawing/2010/main" val="0"/>
              </a:ext>
            </a:extLst>
          </a:blip>
          <a:srcRect t="184" b="184"/>
          <a:stretch/>
        </p:blipFill>
        <p:spPr>
          <a:xfrm>
            <a:off x="-1" y="0"/>
            <a:ext cx="12192001" cy="6858000"/>
          </a:xfrm>
          <a:prstGeom prst="rect">
            <a:avLst/>
          </a:prstGeom>
        </p:spPr>
      </p:pic>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287970147"/>
              </p:ext>
            </p:extLst>
          </p:nvPr>
        </p:nvGraphicFramePr>
        <p:xfrm>
          <a:off x="2200" y="1668"/>
          <a:ext cx="2159" cy="1619"/>
        </p:xfrm>
        <a:graphic>
          <a:graphicData uri="http://schemas.openxmlformats.org/presentationml/2006/ole">
            <mc:AlternateContent xmlns:mc="http://schemas.openxmlformats.org/markup-compatibility/2006">
              <mc:Choice xmlns:v="urn:schemas-microsoft-com:vml" Requires="v">
                <p:oleObj spid="_x0000_s2459" name="think-cell Slide" r:id="rId6" imgW="270" imgH="270" progId="TCLayout.ActiveDocument.1">
                  <p:embed/>
                </p:oleObj>
              </mc:Choice>
              <mc:Fallback>
                <p:oleObj name="think-cell Slide" r:id="rId6" imgW="270" imgH="270" progId="TCLayout.ActiveDocument.1">
                  <p:embed/>
                  <p:pic>
                    <p:nvPicPr>
                      <p:cNvPr id="3" name="Object 2" hidden="1"/>
                      <p:cNvPicPr/>
                      <p:nvPr/>
                    </p:nvPicPr>
                    <p:blipFill>
                      <a:blip r:embed="rId7"/>
                      <a:stretch>
                        <a:fillRect/>
                      </a:stretch>
                    </p:blipFill>
                    <p:spPr>
                      <a:xfrm>
                        <a:off x="2200" y="1668"/>
                        <a:ext cx="2159" cy="1619"/>
                      </a:xfrm>
                      <a:prstGeom prst="rect">
                        <a:avLst/>
                      </a:prstGeom>
                    </p:spPr>
                  </p:pic>
                </p:oleObj>
              </mc:Fallback>
            </mc:AlternateContent>
          </a:graphicData>
        </a:graphic>
      </p:graphicFrame>
      <p:sp>
        <p:nvSpPr>
          <p:cNvPr id="57" name="Document type" hidden="1"/>
          <p:cNvSpPr txBox="1">
            <a:spLocks noChangeArrowheads="1"/>
          </p:cNvSpPr>
          <p:nvPr userDrawn="1"/>
        </p:nvSpPr>
        <p:spPr bwMode="auto">
          <a:xfrm>
            <a:off x="595162" y="1858542"/>
            <a:ext cx="6908955"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t">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US" sz="1400" dirty="0">
                <a:solidFill>
                  <a:prstClr val="black"/>
                </a:solidFill>
                <a:latin typeface="Calibri"/>
              </a:rPr>
              <a:t>Document type | Date</a:t>
            </a:r>
          </a:p>
        </p:txBody>
      </p:sp>
      <p:sp>
        <p:nvSpPr>
          <p:cNvPr id="45" name="Freeform: Shape 44">
            <a:extLst>
              <a:ext uri="{FF2B5EF4-FFF2-40B4-BE49-F238E27FC236}">
                <a16:creationId xmlns:a16="http://schemas.microsoft.com/office/drawing/2014/main" id="{7C010C59-D0F4-4FE8-88B7-4FF5E14B067C}"/>
              </a:ext>
            </a:extLst>
          </p:cNvPr>
          <p:cNvSpPr/>
          <p:nvPr userDrawn="1"/>
        </p:nvSpPr>
        <p:spPr>
          <a:xfrm>
            <a:off x="0" y="0"/>
            <a:ext cx="12192000" cy="6858000"/>
          </a:xfrm>
          <a:custGeom>
            <a:avLst/>
            <a:gdLst>
              <a:gd name="connsiteX0" fmla="*/ 1429139 w 12192000"/>
              <a:gd name="connsiteY0" fmla="*/ 6161467 h 6858000"/>
              <a:gd name="connsiteX1" fmla="*/ 1102568 w 12192000"/>
              <a:gd name="connsiteY1" fmla="*/ 6488038 h 6858000"/>
              <a:gd name="connsiteX2" fmla="*/ 1429139 w 12192000"/>
              <a:gd name="connsiteY2" fmla="*/ 6814609 h 6858000"/>
              <a:gd name="connsiteX3" fmla="*/ 1755710 w 12192000"/>
              <a:gd name="connsiteY3" fmla="*/ 6488038 h 6858000"/>
              <a:gd name="connsiteX4" fmla="*/ 1429139 w 12192000"/>
              <a:gd name="connsiteY4" fmla="*/ 6161467 h 6858000"/>
              <a:gd name="connsiteX5" fmla="*/ 8162314 w 12192000"/>
              <a:gd name="connsiteY5" fmla="*/ 5649061 h 6858000"/>
              <a:gd name="connsiteX6" fmla="*/ 8036905 w 12192000"/>
              <a:gd name="connsiteY6" fmla="*/ 5701007 h 6858000"/>
              <a:gd name="connsiteX7" fmla="*/ 7335995 w 12192000"/>
              <a:gd name="connsiteY7" fmla="*/ 6401917 h 6858000"/>
              <a:gd name="connsiteX8" fmla="*/ 7335995 w 12192000"/>
              <a:gd name="connsiteY8" fmla="*/ 6652735 h 6858000"/>
              <a:gd name="connsiteX9" fmla="*/ 7357954 w 12192000"/>
              <a:gd name="connsiteY9" fmla="*/ 6674694 h 6858000"/>
              <a:gd name="connsiteX10" fmla="*/ 7608772 w 12192000"/>
              <a:gd name="connsiteY10" fmla="*/ 6674694 h 6858000"/>
              <a:gd name="connsiteX11" fmla="*/ 8309682 w 12192000"/>
              <a:gd name="connsiteY11" fmla="*/ 5973784 h 6858000"/>
              <a:gd name="connsiteX12" fmla="*/ 8309682 w 12192000"/>
              <a:gd name="connsiteY12" fmla="*/ 5722966 h 6858000"/>
              <a:gd name="connsiteX13" fmla="*/ 8287723 w 12192000"/>
              <a:gd name="connsiteY13" fmla="*/ 5701007 h 6858000"/>
              <a:gd name="connsiteX14" fmla="*/ 8162314 w 12192000"/>
              <a:gd name="connsiteY14" fmla="*/ 5649061 h 6858000"/>
              <a:gd name="connsiteX15" fmla="*/ 899628 w 12192000"/>
              <a:gd name="connsiteY15" fmla="*/ 5446562 h 6858000"/>
              <a:gd name="connsiteX16" fmla="*/ 573057 w 12192000"/>
              <a:gd name="connsiteY16" fmla="*/ 5773133 h 6858000"/>
              <a:gd name="connsiteX17" fmla="*/ 899628 w 12192000"/>
              <a:gd name="connsiteY17" fmla="*/ 6099704 h 6858000"/>
              <a:gd name="connsiteX18" fmla="*/ 1226199 w 12192000"/>
              <a:gd name="connsiteY18" fmla="*/ 5773133 h 6858000"/>
              <a:gd name="connsiteX19" fmla="*/ 899628 w 12192000"/>
              <a:gd name="connsiteY19" fmla="*/ 5446562 h 6858000"/>
              <a:gd name="connsiteX20" fmla="*/ 370117 w 12192000"/>
              <a:gd name="connsiteY20" fmla="*/ 4731656 h 6858000"/>
              <a:gd name="connsiteX21" fmla="*/ 43547 w 12192000"/>
              <a:gd name="connsiteY21" fmla="*/ 5058227 h 6858000"/>
              <a:gd name="connsiteX22" fmla="*/ 370117 w 12192000"/>
              <a:gd name="connsiteY22" fmla="*/ 5384798 h 6858000"/>
              <a:gd name="connsiteX23" fmla="*/ 696689 w 12192000"/>
              <a:gd name="connsiteY23" fmla="*/ 5058227 h 6858000"/>
              <a:gd name="connsiteX24" fmla="*/ 370117 w 12192000"/>
              <a:gd name="connsiteY24" fmla="*/ 4731656 h 6858000"/>
              <a:gd name="connsiteX25" fmla="*/ 8139025 w 12192000"/>
              <a:gd name="connsiteY25" fmla="*/ 4569563 h 6858000"/>
              <a:gd name="connsiteX26" fmla="*/ 8013616 w 12192000"/>
              <a:gd name="connsiteY26" fmla="*/ 4621508 h 6858000"/>
              <a:gd name="connsiteX27" fmla="*/ 6236292 w 12192000"/>
              <a:gd name="connsiteY27" fmla="*/ 6398833 h 6858000"/>
              <a:gd name="connsiteX28" fmla="*/ 6236292 w 12192000"/>
              <a:gd name="connsiteY28" fmla="*/ 6649651 h 6858000"/>
              <a:gd name="connsiteX29" fmla="*/ 6258251 w 12192000"/>
              <a:gd name="connsiteY29" fmla="*/ 6671610 h 6858000"/>
              <a:gd name="connsiteX30" fmla="*/ 6509069 w 12192000"/>
              <a:gd name="connsiteY30" fmla="*/ 6671610 h 6858000"/>
              <a:gd name="connsiteX31" fmla="*/ 8286393 w 12192000"/>
              <a:gd name="connsiteY31" fmla="*/ 4894285 h 6858000"/>
              <a:gd name="connsiteX32" fmla="*/ 8286393 w 12192000"/>
              <a:gd name="connsiteY32" fmla="*/ 4643467 h 6858000"/>
              <a:gd name="connsiteX33" fmla="*/ 8264434 w 12192000"/>
              <a:gd name="connsiteY33" fmla="*/ 4621508 h 6858000"/>
              <a:gd name="connsiteX34" fmla="*/ 8139025 w 12192000"/>
              <a:gd name="connsiteY34" fmla="*/ 4569563 h 6858000"/>
              <a:gd name="connsiteX35" fmla="*/ 7618325 w 12192000"/>
              <a:gd name="connsiteY35" fmla="*/ 3939483 h 6858000"/>
              <a:gd name="connsiteX36" fmla="*/ 7492916 w 12192000"/>
              <a:gd name="connsiteY36" fmla="*/ 3991429 h 6858000"/>
              <a:gd name="connsiteX37" fmla="*/ 5016683 w 12192000"/>
              <a:gd name="connsiteY37" fmla="*/ 6467663 h 6858000"/>
              <a:gd name="connsiteX38" fmla="*/ 5016683 w 12192000"/>
              <a:gd name="connsiteY38" fmla="*/ 6718481 h 6858000"/>
              <a:gd name="connsiteX39" fmla="*/ 5038642 w 12192000"/>
              <a:gd name="connsiteY39" fmla="*/ 6740440 h 6858000"/>
              <a:gd name="connsiteX40" fmla="*/ 5289460 w 12192000"/>
              <a:gd name="connsiteY40" fmla="*/ 6740440 h 6858000"/>
              <a:gd name="connsiteX41" fmla="*/ 7765693 w 12192000"/>
              <a:gd name="connsiteY41" fmla="*/ 4264206 h 6858000"/>
              <a:gd name="connsiteX42" fmla="*/ 7765693 w 12192000"/>
              <a:gd name="connsiteY42" fmla="*/ 4013388 h 6858000"/>
              <a:gd name="connsiteX43" fmla="*/ 7743734 w 12192000"/>
              <a:gd name="connsiteY43" fmla="*/ 3991429 h 6858000"/>
              <a:gd name="connsiteX44" fmla="*/ 7618325 w 12192000"/>
              <a:gd name="connsiteY44" fmla="*/ 3939483 h 6858000"/>
              <a:gd name="connsiteX45" fmla="*/ 10089754 w 12192000"/>
              <a:gd name="connsiteY45" fmla="*/ 3704146 h 6858000"/>
              <a:gd name="connsiteX46" fmla="*/ 9964345 w 12192000"/>
              <a:gd name="connsiteY46" fmla="*/ 3756091 h 6858000"/>
              <a:gd name="connsiteX47" fmla="*/ 8460165 w 12192000"/>
              <a:gd name="connsiteY47" fmla="*/ 5260272 h 6858000"/>
              <a:gd name="connsiteX48" fmla="*/ 8460165 w 12192000"/>
              <a:gd name="connsiteY48" fmla="*/ 5511090 h 6858000"/>
              <a:gd name="connsiteX49" fmla="*/ 8482124 w 12192000"/>
              <a:gd name="connsiteY49" fmla="*/ 5533049 h 6858000"/>
              <a:gd name="connsiteX50" fmla="*/ 8732942 w 12192000"/>
              <a:gd name="connsiteY50" fmla="*/ 5533049 h 6858000"/>
              <a:gd name="connsiteX51" fmla="*/ 10237122 w 12192000"/>
              <a:gd name="connsiteY51" fmla="*/ 4028868 h 6858000"/>
              <a:gd name="connsiteX52" fmla="*/ 10237122 w 12192000"/>
              <a:gd name="connsiteY52" fmla="*/ 3778051 h 6858000"/>
              <a:gd name="connsiteX53" fmla="*/ 10215163 w 12192000"/>
              <a:gd name="connsiteY53" fmla="*/ 3756091 h 6858000"/>
              <a:gd name="connsiteX54" fmla="*/ 10089754 w 12192000"/>
              <a:gd name="connsiteY54" fmla="*/ 3704146 h 6858000"/>
              <a:gd name="connsiteX55" fmla="*/ 10041065 w 12192000"/>
              <a:gd name="connsiteY55" fmla="*/ 2624647 h 6858000"/>
              <a:gd name="connsiteX56" fmla="*/ 9915656 w 12192000"/>
              <a:gd name="connsiteY56" fmla="*/ 2676593 h 6858000"/>
              <a:gd name="connsiteX57" fmla="*/ 8411476 w 12192000"/>
              <a:gd name="connsiteY57" fmla="*/ 4180773 h 6858000"/>
              <a:gd name="connsiteX58" fmla="*/ 8411476 w 12192000"/>
              <a:gd name="connsiteY58" fmla="*/ 4431591 h 6858000"/>
              <a:gd name="connsiteX59" fmla="*/ 8433435 w 12192000"/>
              <a:gd name="connsiteY59" fmla="*/ 4453550 h 6858000"/>
              <a:gd name="connsiteX60" fmla="*/ 8684253 w 12192000"/>
              <a:gd name="connsiteY60" fmla="*/ 4453550 h 6858000"/>
              <a:gd name="connsiteX61" fmla="*/ 10188433 w 12192000"/>
              <a:gd name="connsiteY61" fmla="*/ 2949370 h 6858000"/>
              <a:gd name="connsiteX62" fmla="*/ 10188433 w 12192000"/>
              <a:gd name="connsiteY62" fmla="*/ 2698552 h 6858000"/>
              <a:gd name="connsiteX63" fmla="*/ 10166474 w 12192000"/>
              <a:gd name="connsiteY63" fmla="*/ 2676593 h 6858000"/>
              <a:gd name="connsiteX64" fmla="*/ 10041065 w 12192000"/>
              <a:gd name="connsiteY64" fmla="*/ 2624647 h 6858000"/>
              <a:gd name="connsiteX65" fmla="*/ 9520364 w 12192000"/>
              <a:gd name="connsiteY65" fmla="*/ 1994569 h 6858000"/>
              <a:gd name="connsiteX66" fmla="*/ 9394955 w 12192000"/>
              <a:gd name="connsiteY66" fmla="*/ 2046515 h 6858000"/>
              <a:gd name="connsiteX67" fmla="*/ 7890775 w 12192000"/>
              <a:gd name="connsiteY67" fmla="*/ 3550695 h 6858000"/>
              <a:gd name="connsiteX68" fmla="*/ 7890775 w 12192000"/>
              <a:gd name="connsiteY68" fmla="*/ 3801513 h 6858000"/>
              <a:gd name="connsiteX69" fmla="*/ 7912734 w 12192000"/>
              <a:gd name="connsiteY69" fmla="*/ 3823472 h 6858000"/>
              <a:gd name="connsiteX70" fmla="*/ 8163552 w 12192000"/>
              <a:gd name="connsiteY70" fmla="*/ 3823472 h 6858000"/>
              <a:gd name="connsiteX71" fmla="*/ 9667732 w 12192000"/>
              <a:gd name="connsiteY71" fmla="*/ 2319292 h 6858000"/>
              <a:gd name="connsiteX72" fmla="*/ 9667732 w 12192000"/>
              <a:gd name="connsiteY72" fmla="*/ 2068475 h 6858000"/>
              <a:gd name="connsiteX73" fmla="*/ 9645773 w 12192000"/>
              <a:gd name="connsiteY73" fmla="*/ 2046515 h 6858000"/>
              <a:gd name="connsiteX74" fmla="*/ 9520364 w 12192000"/>
              <a:gd name="connsiteY74" fmla="*/ 1994569 h 6858000"/>
              <a:gd name="connsiteX75" fmla="*/ 11974643 w 12192000"/>
              <a:gd name="connsiteY75" fmla="*/ 1766977 h 6858000"/>
              <a:gd name="connsiteX76" fmla="*/ 11849234 w 12192000"/>
              <a:gd name="connsiteY76" fmla="*/ 1818923 h 6858000"/>
              <a:gd name="connsiteX77" fmla="*/ 10345054 w 12192000"/>
              <a:gd name="connsiteY77" fmla="*/ 3323103 h 6858000"/>
              <a:gd name="connsiteX78" fmla="*/ 10345054 w 12192000"/>
              <a:gd name="connsiteY78" fmla="*/ 3573920 h 6858000"/>
              <a:gd name="connsiteX79" fmla="*/ 10367013 w 12192000"/>
              <a:gd name="connsiteY79" fmla="*/ 3595879 h 6858000"/>
              <a:gd name="connsiteX80" fmla="*/ 10617831 w 12192000"/>
              <a:gd name="connsiteY80" fmla="*/ 3595879 h 6858000"/>
              <a:gd name="connsiteX81" fmla="*/ 12122011 w 12192000"/>
              <a:gd name="connsiteY81" fmla="*/ 2091700 h 6858000"/>
              <a:gd name="connsiteX82" fmla="*/ 12122011 w 12192000"/>
              <a:gd name="connsiteY82" fmla="*/ 1840882 h 6858000"/>
              <a:gd name="connsiteX83" fmla="*/ 12100052 w 12192000"/>
              <a:gd name="connsiteY83" fmla="*/ 1818923 h 6858000"/>
              <a:gd name="connsiteX84" fmla="*/ 11974643 w 12192000"/>
              <a:gd name="connsiteY84" fmla="*/ 1766977 h 6858000"/>
              <a:gd name="connsiteX85" fmla="*/ 4017223 w 12192000"/>
              <a:gd name="connsiteY85" fmla="*/ 734456 h 6858000"/>
              <a:gd name="connsiteX86" fmla="*/ 3560024 w 12192000"/>
              <a:gd name="connsiteY86" fmla="*/ 1191656 h 6858000"/>
              <a:gd name="connsiteX87" fmla="*/ 4017223 w 12192000"/>
              <a:gd name="connsiteY87" fmla="*/ 1648856 h 6858000"/>
              <a:gd name="connsiteX88" fmla="*/ 4474421 w 12192000"/>
              <a:gd name="connsiteY88" fmla="*/ 1191656 h 6858000"/>
              <a:gd name="connsiteX89" fmla="*/ 5708917 w 12192000"/>
              <a:gd name="connsiteY89" fmla="*/ 734456 h 6858000"/>
              <a:gd name="connsiteX90" fmla="*/ 5251717 w 12192000"/>
              <a:gd name="connsiteY90" fmla="*/ 1191656 h 6858000"/>
              <a:gd name="connsiteX91" fmla="*/ 5708917 w 12192000"/>
              <a:gd name="connsiteY91" fmla="*/ 1648856 h 6858000"/>
              <a:gd name="connsiteX92" fmla="*/ 6166116 w 12192000"/>
              <a:gd name="connsiteY92" fmla="*/ 1191656 h 6858000"/>
              <a:gd name="connsiteX93" fmla="*/ 7400612 w 12192000"/>
              <a:gd name="connsiteY93" fmla="*/ 734455 h 6858000"/>
              <a:gd name="connsiteX94" fmla="*/ 6943412 w 12192000"/>
              <a:gd name="connsiteY94" fmla="*/ 1191656 h 6858000"/>
              <a:gd name="connsiteX95" fmla="*/ 7400612 w 12192000"/>
              <a:gd name="connsiteY95" fmla="*/ 1648856 h 6858000"/>
              <a:gd name="connsiteX96" fmla="*/ 7857812 w 12192000"/>
              <a:gd name="connsiteY96" fmla="*/ 1191656 h 6858000"/>
              <a:gd name="connsiteX97" fmla="*/ 9092308 w 12192000"/>
              <a:gd name="connsiteY97" fmla="*/ 734455 h 6858000"/>
              <a:gd name="connsiteX98" fmla="*/ 8635108 w 12192000"/>
              <a:gd name="connsiteY98" fmla="*/ 1191655 h 6858000"/>
              <a:gd name="connsiteX99" fmla="*/ 9092308 w 12192000"/>
              <a:gd name="connsiteY99" fmla="*/ 1648855 h 6858000"/>
              <a:gd name="connsiteX100" fmla="*/ 9549508 w 12192000"/>
              <a:gd name="connsiteY100" fmla="*/ 1191655 h 6858000"/>
              <a:gd name="connsiteX101" fmla="*/ 11938654 w 12192000"/>
              <a:gd name="connsiteY101" fmla="*/ 725578 h 6858000"/>
              <a:gd name="connsiteX102" fmla="*/ 11813245 w 12192000"/>
              <a:gd name="connsiteY102" fmla="*/ 777523 h 6858000"/>
              <a:gd name="connsiteX103" fmla="*/ 10309065 w 12192000"/>
              <a:gd name="connsiteY103" fmla="*/ 2281704 h 6858000"/>
              <a:gd name="connsiteX104" fmla="*/ 10309065 w 12192000"/>
              <a:gd name="connsiteY104" fmla="*/ 2532522 h 6858000"/>
              <a:gd name="connsiteX105" fmla="*/ 10331024 w 12192000"/>
              <a:gd name="connsiteY105" fmla="*/ 2554481 h 6858000"/>
              <a:gd name="connsiteX106" fmla="*/ 10581842 w 12192000"/>
              <a:gd name="connsiteY106" fmla="*/ 2554481 h 6858000"/>
              <a:gd name="connsiteX107" fmla="*/ 12086022 w 12192000"/>
              <a:gd name="connsiteY107" fmla="*/ 1050300 h 6858000"/>
              <a:gd name="connsiteX108" fmla="*/ 12086022 w 12192000"/>
              <a:gd name="connsiteY108" fmla="*/ 799483 h 6858000"/>
              <a:gd name="connsiteX109" fmla="*/ 12064063 w 12192000"/>
              <a:gd name="connsiteY109" fmla="*/ 777523 h 6858000"/>
              <a:gd name="connsiteX110" fmla="*/ 11938654 w 12192000"/>
              <a:gd name="connsiteY110" fmla="*/ 725578 h 6858000"/>
              <a:gd name="connsiteX111" fmla="*/ 11405253 w 12192000"/>
              <a:gd name="connsiteY111" fmla="*/ 57401 h 6858000"/>
              <a:gd name="connsiteX112" fmla="*/ 11279844 w 12192000"/>
              <a:gd name="connsiteY112" fmla="*/ 109347 h 6858000"/>
              <a:gd name="connsiteX113" fmla="*/ 9775664 w 12192000"/>
              <a:gd name="connsiteY113" fmla="*/ 1613528 h 6858000"/>
              <a:gd name="connsiteX114" fmla="*/ 9775664 w 12192000"/>
              <a:gd name="connsiteY114" fmla="*/ 1864346 h 6858000"/>
              <a:gd name="connsiteX115" fmla="*/ 9797623 w 12192000"/>
              <a:gd name="connsiteY115" fmla="*/ 1886305 h 6858000"/>
              <a:gd name="connsiteX116" fmla="*/ 10048441 w 12192000"/>
              <a:gd name="connsiteY116" fmla="*/ 1886305 h 6858000"/>
              <a:gd name="connsiteX117" fmla="*/ 11552621 w 12192000"/>
              <a:gd name="connsiteY117" fmla="*/ 382124 h 6858000"/>
              <a:gd name="connsiteX118" fmla="*/ 11552621 w 12192000"/>
              <a:gd name="connsiteY118" fmla="*/ 131306 h 6858000"/>
              <a:gd name="connsiteX119" fmla="*/ 11530662 w 12192000"/>
              <a:gd name="connsiteY119" fmla="*/ 109347 h 6858000"/>
              <a:gd name="connsiteX120" fmla="*/ 11405253 w 12192000"/>
              <a:gd name="connsiteY120" fmla="*/ 57401 h 6858000"/>
              <a:gd name="connsiteX121" fmla="*/ 4 w 12192000"/>
              <a:gd name="connsiteY121" fmla="*/ 2 h 6858000"/>
              <a:gd name="connsiteX122" fmla="*/ 4 w 12192000"/>
              <a:gd name="connsiteY122" fmla="*/ 3090502 h 6858000"/>
              <a:gd name="connsiteX123" fmla="*/ 3090503 w 12192000"/>
              <a:gd name="connsiteY123" fmla="*/ 2 h 6858000"/>
              <a:gd name="connsiteX124" fmla="*/ 3171376 w 12192000"/>
              <a:gd name="connsiteY124" fmla="*/ 2 h 6858000"/>
              <a:gd name="connsiteX125" fmla="*/ 2714176 w 12192000"/>
              <a:gd name="connsiteY125" fmla="*/ 457202 h 6858000"/>
              <a:gd name="connsiteX126" fmla="*/ 3171376 w 12192000"/>
              <a:gd name="connsiteY126" fmla="*/ 914402 h 6858000"/>
              <a:gd name="connsiteX127" fmla="*/ 3628576 w 12192000"/>
              <a:gd name="connsiteY127" fmla="*/ 457202 h 6858000"/>
              <a:gd name="connsiteX128" fmla="*/ 4863069 w 12192000"/>
              <a:gd name="connsiteY128" fmla="*/ 2 h 6858000"/>
              <a:gd name="connsiteX129" fmla="*/ 4405869 w 12192000"/>
              <a:gd name="connsiteY129" fmla="*/ 457202 h 6858000"/>
              <a:gd name="connsiteX130" fmla="*/ 4863069 w 12192000"/>
              <a:gd name="connsiteY130" fmla="*/ 914402 h 6858000"/>
              <a:gd name="connsiteX131" fmla="*/ 5320269 w 12192000"/>
              <a:gd name="connsiteY131" fmla="*/ 457202 h 6858000"/>
              <a:gd name="connsiteX132" fmla="*/ 6554764 w 12192000"/>
              <a:gd name="connsiteY132" fmla="*/ 2 h 6858000"/>
              <a:gd name="connsiteX133" fmla="*/ 6097564 w 12192000"/>
              <a:gd name="connsiteY133" fmla="*/ 457201 h 6858000"/>
              <a:gd name="connsiteX134" fmla="*/ 6554764 w 12192000"/>
              <a:gd name="connsiteY134" fmla="*/ 914401 h 6858000"/>
              <a:gd name="connsiteX135" fmla="*/ 7011964 w 12192000"/>
              <a:gd name="connsiteY135" fmla="*/ 457201 h 6858000"/>
              <a:gd name="connsiteX136" fmla="*/ 8246460 w 12192000"/>
              <a:gd name="connsiteY136" fmla="*/ 1 h 6858000"/>
              <a:gd name="connsiteX137" fmla="*/ 7789260 w 12192000"/>
              <a:gd name="connsiteY137" fmla="*/ 457201 h 6858000"/>
              <a:gd name="connsiteX138" fmla="*/ 8246460 w 12192000"/>
              <a:gd name="connsiteY138" fmla="*/ 914401 h 6858000"/>
              <a:gd name="connsiteX139" fmla="*/ 8703660 w 12192000"/>
              <a:gd name="connsiteY139" fmla="*/ 457201 h 6858000"/>
              <a:gd name="connsiteX140" fmla="*/ 9938152 w 12192000"/>
              <a:gd name="connsiteY140" fmla="*/ 1 h 6858000"/>
              <a:gd name="connsiteX141" fmla="*/ 9480952 w 12192000"/>
              <a:gd name="connsiteY141" fmla="*/ 457201 h 6858000"/>
              <a:gd name="connsiteX142" fmla="*/ 9938152 w 12192000"/>
              <a:gd name="connsiteY142" fmla="*/ 914401 h 6858000"/>
              <a:gd name="connsiteX143" fmla="*/ 10395352 w 12192000"/>
              <a:gd name="connsiteY143" fmla="*/ 457201 h 6858000"/>
              <a:gd name="connsiteX144" fmla="*/ 0 w 12192000"/>
              <a:gd name="connsiteY144" fmla="*/ 0 h 6858000"/>
              <a:gd name="connsiteX145" fmla="*/ 12192000 w 12192000"/>
              <a:gd name="connsiteY145" fmla="*/ 0 h 6858000"/>
              <a:gd name="connsiteX146" fmla="*/ 12192000 w 12192000"/>
              <a:gd name="connsiteY146" fmla="*/ 2431144 h 6858000"/>
              <a:gd name="connsiteX147" fmla="*/ 7765144 w 12192000"/>
              <a:gd name="connsiteY147" fmla="*/ 6858000 h 6858000"/>
              <a:gd name="connsiteX148" fmla="*/ 0 w 12192000"/>
              <a:gd name="connsiteY148"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Lst>
            <a:rect l="l" t="t" r="r" b="b"/>
            <a:pathLst>
              <a:path w="12192000" h="6858000">
                <a:moveTo>
                  <a:pt x="1429139" y="6161467"/>
                </a:moveTo>
                <a:cubicBezTo>
                  <a:pt x="1248779" y="6161467"/>
                  <a:pt x="1102568" y="6307678"/>
                  <a:pt x="1102568" y="6488038"/>
                </a:cubicBezTo>
                <a:cubicBezTo>
                  <a:pt x="1102568" y="6668398"/>
                  <a:pt x="1248779" y="6814609"/>
                  <a:pt x="1429139" y="6814609"/>
                </a:cubicBezTo>
                <a:cubicBezTo>
                  <a:pt x="1609499" y="6814609"/>
                  <a:pt x="1755710" y="6668398"/>
                  <a:pt x="1755710" y="6488038"/>
                </a:cubicBezTo>
                <a:cubicBezTo>
                  <a:pt x="1755710" y="6307678"/>
                  <a:pt x="1609499" y="6161467"/>
                  <a:pt x="1429139" y="6161467"/>
                </a:cubicBezTo>
                <a:close/>
                <a:moveTo>
                  <a:pt x="8162314" y="5649061"/>
                </a:moveTo>
                <a:cubicBezTo>
                  <a:pt x="8116925" y="5649061"/>
                  <a:pt x="8071536" y="5666376"/>
                  <a:pt x="8036905" y="5701007"/>
                </a:cubicBezTo>
                <a:lnTo>
                  <a:pt x="7335995" y="6401917"/>
                </a:lnTo>
                <a:cubicBezTo>
                  <a:pt x="7266734" y="6471179"/>
                  <a:pt x="7266734" y="6583474"/>
                  <a:pt x="7335995" y="6652735"/>
                </a:cubicBezTo>
                <a:lnTo>
                  <a:pt x="7357954" y="6674694"/>
                </a:lnTo>
                <a:cubicBezTo>
                  <a:pt x="7427215" y="6743956"/>
                  <a:pt x="7539511" y="6743956"/>
                  <a:pt x="7608772" y="6674694"/>
                </a:cubicBezTo>
                <a:lnTo>
                  <a:pt x="8309682" y="5973784"/>
                </a:lnTo>
                <a:cubicBezTo>
                  <a:pt x="8378944" y="5904522"/>
                  <a:pt x="8378944" y="5792227"/>
                  <a:pt x="8309682" y="5722966"/>
                </a:cubicBezTo>
                <a:lnTo>
                  <a:pt x="8287723" y="5701007"/>
                </a:lnTo>
                <a:cubicBezTo>
                  <a:pt x="8253093" y="5666376"/>
                  <a:pt x="8207704" y="5649061"/>
                  <a:pt x="8162314" y="5649061"/>
                </a:cubicBezTo>
                <a:close/>
                <a:moveTo>
                  <a:pt x="899628" y="5446562"/>
                </a:moveTo>
                <a:cubicBezTo>
                  <a:pt x="719268" y="5446562"/>
                  <a:pt x="573057" y="5592773"/>
                  <a:pt x="573057" y="5773133"/>
                </a:cubicBezTo>
                <a:cubicBezTo>
                  <a:pt x="573057" y="5953493"/>
                  <a:pt x="719268" y="6099704"/>
                  <a:pt x="899628" y="6099704"/>
                </a:cubicBezTo>
                <a:cubicBezTo>
                  <a:pt x="1079988" y="6099704"/>
                  <a:pt x="1226199" y="5953493"/>
                  <a:pt x="1226199" y="5773133"/>
                </a:cubicBezTo>
                <a:cubicBezTo>
                  <a:pt x="1226199" y="5592773"/>
                  <a:pt x="1079988" y="5446562"/>
                  <a:pt x="899628" y="5446562"/>
                </a:cubicBezTo>
                <a:close/>
                <a:moveTo>
                  <a:pt x="370117" y="4731656"/>
                </a:moveTo>
                <a:cubicBezTo>
                  <a:pt x="189758" y="4731656"/>
                  <a:pt x="43547" y="4877867"/>
                  <a:pt x="43547" y="5058227"/>
                </a:cubicBezTo>
                <a:cubicBezTo>
                  <a:pt x="43547" y="5238587"/>
                  <a:pt x="189758" y="5384798"/>
                  <a:pt x="370117" y="5384798"/>
                </a:cubicBezTo>
                <a:cubicBezTo>
                  <a:pt x="550478" y="5384798"/>
                  <a:pt x="696689" y="5238587"/>
                  <a:pt x="696689" y="5058227"/>
                </a:cubicBezTo>
                <a:cubicBezTo>
                  <a:pt x="696689" y="4877867"/>
                  <a:pt x="550478" y="4731656"/>
                  <a:pt x="370117" y="4731656"/>
                </a:cubicBezTo>
                <a:close/>
                <a:moveTo>
                  <a:pt x="8139025" y="4569563"/>
                </a:moveTo>
                <a:cubicBezTo>
                  <a:pt x="8093636" y="4569563"/>
                  <a:pt x="8048247" y="4586878"/>
                  <a:pt x="8013616" y="4621508"/>
                </a:cubicBezTo>
                <a:lnTo>
                  <a:pt x="6236292" y="6398833"/>
                </a:lnTo>
                <a:cubicBezTo>
                  <a:pt x="6167031" y="6468094"/>
                  <a:pt x="6167031" y="6580390"/>
                  <a:pt x="6236292" y="6649651"/>
                </a:cubicBezTo>
                <a:lnTo>
                  <a:pt x="6258251" y="6671610"/>
                </a:lnTo>
                <a:cubicBezTo>
                  <a:pt x="6327512" y="6740871"/>
                  <a:pt x="6439808" y="6740871"/>
                  <a:pt x="6509069" y="6671610"/>
                </a:cubicBezTo>
                <a:lnTo>
                  <a:pt x="8286393" y="4894285"/>
                </a:lnTo>
                <a:cubicBezTo>
                  <a:pt x="8355654" y="4825024"/>
                  <a:pt x="8355654" y="4712728"/>
                  <a:pt x="8286393" y="4643467"/>
                </a:cubicBezTo>
                <a:lnTo>
                  <a:pt x="8264434" y="4621508"/>
                </a:lnTo>
                <a:cubicBezTo>
                  <a:pt x="8229804" y="4586878"/>
                  <a:pt x="8184415" y="4569563"/>
                  <a:pt x="8139025" y="4569563"/>
                </a:cubicBezTo>
                <a:close/>
                <a:moveTo>
                  <a:pt x="7618325" y="3939483"/>
                </a:moveTo>
                <a:cubicBezTo>
                  <a:pt x="7572936" y="3939483"/>
                  <a:pt x="7527547" y="3956798"/>
                  <a:pt x="7492916" y="3991429"/>
                </a:cubicBezTo>
                <a:lnTo>
                  <a:pt x="5016683" y="6467663"/>
                </a:lnTo>
                <a:cubicBezTo>
                  <a:pt x="4947422" y="6536924"/>
                  <a:pt x="4947422" y="6649220"/>
                  <a:pt x="5016683" y="6718481"/>
                </a:cubicBezTo>
                <a:lnTo>
                  <a:pt x="5038642" y="6740440"/>
                </a:lnTo>
                <a:cubicBezTo>
                  <a:pt x="5107903" y="6809701"/>
                  <a:pt x="5220199" y="6809701"/>
                  <a:pt x="5289460" y="6740440"/>
                </a:cubicBezTo>
                <a:lnTo>
                  <a:pt x="7765693" y="4264206"/>
                </a:lnTo>
                <a:cubicBezTo>
                  <a:pt x="7834954" y="4194945"/>
                  <a:pt x="7834954" y="4082649"/>
                  <a:pt x="7765693" y="4013388"/>
                </a:cubicBezTo>
                <a:lnTo>
                  <a:pt x="7743734" y="3991429"/>
                </a:lnTo>
                <a:cubicBezTo>
                  <a:pt x="7709103" y="3956798"/>
                  <a:pt x="7663714" y="3939483"/>
                  <a:pt x="7618325" y="3939483"/>
                </a:cubicBezTo>
                <a:close/>
                <a:moveTo>
                  <a:pt x="10089754" y="3704146"/>
                </a:moveTo>
                <a:cubicBezTo>
                  <a:pt x="10044365" y="3704146"/>
                  <a:pt x="9998976" y="3721461"/>
                  <a:pt x="9964345" y="3756091"/>
                </a:cubicBezTo>
                <a:lnTo>
                  <a:pt x="8460165" y="5260272"/>
                </a:lnTo>
                <a:cubicBezTo>
                  <a:pt x="8390903" y="5329533"/>
                  <a:pt x="8390903" y="5441829"/>
                  <a:pt x="8460165" y="5511090"/>
                </a:cubicBezTo>
                <a:lnTo>
                  <a:pt x="8482124" y="5533049"/>
                </a:lnTo>
                <a:cubicBezTo>
                  <a:pt x="8551385" y="5602310"/>
                  <a:pt x="8663680" y="5602310"/>
                  <a:pt x="8732942" y="5533049"/>
                </a:cubicBezTo>
                <a:lnTo>
                  <a:pt x="10237122" y="4028868"/>
                </a:lnTo>
                <a:cubicBezTo>
                  <a:pt x="10306384" y="3959607"/>
                  <a:pt x="10306384" y="3847312"/>
                  <a:pt x="10237122" y="3778051"/>
                </a:cubicBezTo>
                <a:lnTo>
                  <a:pt x="10215163" y="3756091"/>
                </a:lnTo>
                <a:cubicBezTo>
                  <a:pt x="10180532" y="3721461"/>
                  <a:pt x="10135144" y="3704146"/>
                  <a:pt x="10089754" y="3704146"/>
                </a:cubicBezTo>
                <a:close/>
                <a:moveTo>
                  <a:pt x="10041065" y="2624647"/>
                </a:moveTo>
                <a:cubicBezTo>
                  <a:pt x="9995676" y="2624647"/>
                  <a:pt x="9950287" y="2641962"/>
                  <a:pt x="9915656" y="2676593"/>
                </a:cubicBezTo>
                <a:lnTo>
                  <a:pt x="8411476" y="4180773"/>
                </a:lnTo>
                <a:cubicBezTo>
                  <a:pt x="8342215" y="4250034"/>
                  <a:pt x="8342215" y="4362330"/>
                  <a:pt x="8411476" y="4431591"/>
                </a:cubicBezTo>
                <a:lnTo>
                  <a:pt x="8433435" y="4453550"/>
                </a:lnTo>
                <a:cubicBezTo>
                  <a:pt x="8502696" y="4522811"/>
                  <a:pt x="8614991" y="4522811"/>
                  <a:pt x="8684253" y="4453550"/>
                </a:cubicBezTo>
                <a:lnTo>
                  <a:pt x="10188433" y="2949370"/>
                </a:lnTo>
                <a:cubicBezTo>
                  <a:pt x="10257695" y="2880109"/>
                  <a:pt x="10257695" y="2767813"/>
                  <a:pt x="10188433" y="2698552"/>
                </a:cubicBezTo>
                <a:lnTo>
                  <a:pt x="10166474" y="2676593"/>
                </a:lnTo>
                <a:cubicBezTo>
                  <a:pt x="10131844" y="2641962"/>
                  <a:pt x="10086454" y="2624647"/>
                  <a:pt x="10041065" y="2624647"/>
                </a:cubicBezTo>
                <a:close/>
                <a:moveTo>
                  <a:pt x="9520364" y="1994569"/>
                </a:moveTo>
                <a:cubicBezTo>
                  <a:pt x="9474975" y="1994569"/>
                  <a:pt x="9429586" y="2011885"/>
                  <a:pt x="9394955" y="2046515"/>
                </a:cubicBezTo>
                <a:lnTo>
                  <a:pt x="7890775" y="3550695"/>
                </a:lnTo>
                <a:cubicBezTo>
                  <a:pt x="7821514" y="3619956"/>
                  <a:pt x="7821514" y="3732252"/>
                  <a:pt x="7890775" y="3801513"/>
                </a:cubicBezTo>
                <a:lnTo>
                  <a:pt x="7912734" y="3823472"/>
                </a:lnTo>
                <a:cubicBezTo>
                  <a:pt x="7981995" y="3892733"/>
                  <a:pt x="8094291" y="3892733"/>
                  <a:pt x="8163552" y="3823472"/>
                </a:cubicBezTo>
                <a:lnTo>
                  <a:pt x="9667732" y="2319292"/>
                </a:lnTo>
                <a:cubicBezTo>
                  <a:pt x="9736994" y="2250031"/>
                  <a:pt x="9736994" y="2137735"/>
                  <a:pt x="9667732" y="2068475"/>
                </a:cubicBezTo>
                <a:lnTo>
                  <a:pt x="9645773" y="2046515"/>
                </a:lnTo>
                <a:cubicBezTo>
                  <a:pt x="9611142" y="2011885"/>
                  <a:pt x="9565753" y="1994569"/>
                  <a:pt x="9520364" y="1994569"/>
                </a:cubicBezTo>
                <a:close/>
                <a:moveTo>
                  <a:pt x="11974643" y="1766977"/>
                </a:moveTo>
                <a:cubicBezTo>
                  <a:pt x="11929254" y="1766977"/>
                  <a:pt x="11883865" y="1784292"/>
                  <a:pt x="11849234" y="1818923"/>
                </a:cubicBezTo>
                <a:lnTo>
                  <a:pt x="10345054" y="3323103"/>
                </a:lnTo>
                <a:cubicBezTo>
                  <a:pt x="10275792" y="3392364"/>
                  <a:pt x="10275792" y="3504659"/>
                  <a:pt x="10345054" y="3573920"/>
                </a:cubicBezTo>
                <a:lnTo>
                  <a:pt x="10367013" y="3595879"/>
                </a:lnTo>
                <a:cubicBezTo>
                  <a:pt x="10436274" y="3665140"/>
                  <a:pt x="10548569" y="3665140"/>
                  <a:pt x="10617831" y="3595879"/>
                </a:cubicBezTo>
                <a:lnTo>
                  <a:pt x="12122011" y="2091700"/>
                </a:lnTo>
                <a:cubicBezTo>
                  <a:pt x="12191273" y="2022439"/>
                  <a:pt x="12191273" y="1910143"/>
                  <a:pt x="12122011" y="1840882"/>
                </a:cubicBezTo>
                <a:lnTo>
                  <a:pt x="12100052" y="1818923"/>
                </a:lnTo>
                <a:cubicBezTo>
                  <a:pt x="12065422" y="1784292"/>
                  <a:pt x="12020032" y="1766977"/>
                  <a:pt x="11974643" y="1766977"/>
                </a:cubicBezTo>
                <a:close/>
                <a:moveTo>
                  <a:pt x="4017223" y="734456"/>
                </a:moveTo>
                <a:lnTo>
                  <a:pt x="3560024" y="1191656"/>
                </a:lnTo>
                <a:lnTo>
                  <a:pt x="4017223" y="1648856"/>
                </a:lnTo>
                <a:lnTo>
                  <a:pt x="4474421" y="1191656"/>
                </a:lnTo>
                <a:close/>
                <a:moveTo>
                  <a:pt x="5708917" y="734456"/>
                </a:moveTo>
                <a:lnTo>
                  <a:pt x="5251717" y="1191656"/>
                </a:lnTo>
                <a:lnTo>
                  <a:pt x="5708917" y="1648856"/>
                </a:lnTo>
                <a:lnTo>
                  <a:pt x="6166116" y="1191656"/>
                </a:lnTo>
                <a:close/>
                <a:moveTo>
                  <a:pt x="7400612" y="734455"/>
                </a:moveTo>
                <a:lnTo>
                  <a:pt x="6943412" y="1191656"/>
                </a:lnTo>
                <a:lnTo>
                  <a:pt x="7400612" y="1648856"/>
                </a:lnTo>
                <a:lnTo>
                  <a:pt x="7857812" y="1191656"/>
                </a:lnTo>
                <a:close/>
                <a:moveTo>
                  <a:pt x="9092308" y="734455"/>
                </a:moveTo>
                <a:lnTo>
                  <a:pt x="8635108" y="1191655"/>
                </a:lnTo>
                <a:lnTo>
                  <a:pt x="9092308" y="1648855"/>
                </a:lnTo>
                <a:lnTo>
                  <a:pt x="9549508" y="1191655"/>
                </a:lnTo>
                <a:close/>
                <a:moveTo>
                  <a:pt x="11938654" y="725578"/>
                </a:moveTo>
                <a:cubicBezTo>
                  <a:pt x="11893265" y="725578"/>
                  <a:pt x="11847876" y="742893"/>
                  <a:pt x="11813245" y="777523"/>
                </a:cubicBezTo>
                <a:lnTo>
                  <a:pt x="10309065" y="2281704"/>
                </a:lnTo>
                <a:cubicBezTo>
                  <a:pt x="10239803" y="2350965"/>
                  <a:pt x="10239803" y="2463261"/>
                  <a:pt x="10309065" y="2532522"/>
                </a:cubicBezTo>
                <a:lnTo>
                  <a:pt x="10331024" y="2554481"/>
                </a:lnTo>
                <a:cubicBezTo>
                  <a:pt x="10400285" y="2623742"/>
                  <a:pt x="10512580" y="2623742"/>
                  <a:pt x="10581842" y="2554481"/>
                </a:cubicBezTo>
                <a:lnTo>
                  <a:pt x="12086022" y="1050300"/>
                </a:lnTo>
                <a:cubicBezTo>
                  <a:pt x="12155284" y="981039"/>
                  <a:pt x="12155284" y="868744"/>
                  <a:pt x="12086022" y="799483"/>
                </a:cubicBezTo>
                <a:lnTo>
                  <a:pt x="12064063" y="777523"/>
                </a:lnTo>
                <a:cubicBezTo>
                  <a:pt x="12029432" y="742893"/>
                  <a:pt x="11984043" y="725578"/>
                  <a:pt x="11938654" y="725578"/>
                </a:cubicBezTo>
                <a:close/>
                <a:moveTo>
                  <a:pt x="11405253" y="57401"/>
                </a:moveTo>
                <a:cubicBezTo>
                  <a:pt x="11359864" y="57401"/>
                  <a:pt x="11314475" y="74716"/>
                  <a:pt x="11279844" y="109347"/>
                </a:cubicBezTo>
                <a:lnTo>
                  <a:pt x="9775664" y="1613528"/>
                </a:lnTo>
                <a:cubicBezTo>
                  <a:pt x="9706402" y="1682789"/>
                  <a:pt x="9706402" y="1795085"/>
                  <a:pt x="9775664" y="1864346"/>
                </a:cubicBezTo>
                <a:lnTo>
                  <a:pt x="9797623" y="1886305"/>
                </a:lnTo>
                <a:cubicBezTo>
                  <a:pt x="9866884" y="1955566"/>
                  <a:pt x="9979179" y="1955566"/>
                  <a:pt x="10048441" y="1886305"/>
                </a:cubicBezTo>
                <a:lnTo>
                  <a:pt x="11552621" y="382124"/>
                </a:lnTo>
                <a:cubicBezTo>
                  <a:pt x="11621883" y="312862"/>
                  <a:pt x="11621883" y="200567"/>
                  <a:pt x="11552621" y="131306"/>
                </a:cubicBezTo>
                <a:lnTo>
                  <a:pt x="11530662" y="109347"/>
                </a:lnTo>
                <a:cubicBezTo>
                  <a:pt x="11496032" y="74716"/>
                  <a:pt x="11450643" y="57401"/>
                  <a:pt x="11405253" y="57401"/>
                </a:cubicBezTo>
                <a:close/>
                <a:moveTo>
                  <a:pt x="4" y="2"/>
                </a:moveTo>
                <a:lnTo>
                  <a:pt x="4" y="3090502"/>
                </a:lnTo>
                <a:lnTo>
                  <a:pt x="3090503" y="2"/>
                </a:lnTo>
                <a:close/>
                <a:moveTo>
                  <a:pt x="3171376" y="2"/>
                </a:moveTo>
                <a:lnTo>
                  <a:pt x="2714176" y="457202"/>
                </a:lnTo>
                <a:lnTo>
                  <a:pt x="3171376" y="914402"/>
                </a:lnTo>
                <a:lnTo>
                  <a:pt x="3628576" y="457202"/>
                </a:lnTo>
                <a:close/>
                <a:moveTo>
                  <a:pt x="4863069" y="2"/>
                </a:moveTo>
                <a:lnTo>
                  <a:pt x="4405869" y="457202"/>
                </a:lnTo>
                <a:lnTo>
                  <a:pt x="4863069" y="914402"/>
                </a:lnTo>
                <a:lnTo>
                  <a:pt x="5320269" y="457202"/>
                </a:lnTo>
                <a:close/>
                <a:moveTo>
                  <a:pt x="6554764" y="2"/>
                </a:moveTo>
                <a:lnTo>
                  <a:pt x="6097564" y="457201"/>
                </a:lnTo>
                <a:lnTo>
                  <a:pt x="6554764" y="914401"/>
                </a:lnTo>
                <a:lnTo>
                  <a:pt x="7011964" y="457201"/>
                </a:lnTo>
                <a:close/>
                <a:moveTo>
                  <a:pt x="8246460" y="1"/>
                </a:moveTo>
                <a:lnTo>
                  <a:pt x="7789260" y="457201"/>
                </a:lnTo>
                <a:lnTo>
                  <a:pt x="8246460" y="914401"/>
                </a:lnTo>
                <a:lnTo>
                  <a:pt x="8703660" y="457201"/>
                </a:lnTo>
                <a:close/>
                <a:moveTo>
                  <a:pt x="9938152" y="1"/>
                </a:moveTo>
                <a:lnTo>
                  <a:pt x="9480952" y="457201"/>
                </a:lnTo>
                <a:lnTo>
                  <a:pt x="9938152" y="914401"/>
                </a:lnTo>
                <a:lnTo>
                  <a:pt x="10395352" y="457201"/>
                </a:lnTo>
                <a:close/>
                <a:moveTo>
                  <a:pt x="0" y="0"/>
                </a:moveTo>
                <a:lnTo>
                  <a:pt x="12192000" y="0"/>
                </a:lnTo>
                <a:lnTo>
                  <a:pt x="12192000" y="2431144"/>
                </a:lnTo>
                <a:lnTo>
                  <a:pt x="7765144" y="6858000"/>
                </a:lnTo>
                <a:lnTo>
                  <a:pt x="0" y="6858000"/>
                </a:lnTo>
                <a:close/>
              </a:path>
            </a:pathLst>
          </a:custGeom>
          <a:solidFill>
            <a:schemeClr val="accent1">
              <a:alpha val="92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IN" sz="1600" b="1" dirty="0" err="1">
              <a:solidFill>
                <a:srgbClr val="FFC000"/>
              </a:solidFill>
            </a:endParaRPr>
          </a:p>
        </p:txBody>
      </p:sp>
      <p:sp>
        <p:nvSpPr>
          <p:cNvPr id="49" name="Freeform: Shape 48">
            <a:extLst>
              <a:ext uri="{FF2B5EF4-FFF2-40B4-BE49-F238E27FC236}">
                <a16:creationId xmlns:a16="http://schemas.microsoft.com/office/drawing/2014/main" id="{A674ABF8-EAD4-4410-8CCD-477D276B43F4}"/>
              </a:ext>
            </a:extLst>
          </p:cNvPr>
          <p:cNvSpPr/>
          <p:nvPr userDrawn="1"/>
        </p:nvSpPr>
        <p:spPr>
          <a:xfrm>
            <a:off x="-3408" y="2450947"/>
            <a:ext cx="6607408" cy="2237168"/>
          </a:xfrm>
          <a:custGeom>
            <a:avLst/>
            <a:gdLst>
              <a:gd name="connsiteX0" fmla="*/ 643965 w 6607408"/>
              <a:gd name="connsiteY0" fmla="*/ 0 h 2237168"/>
              <a:gd name="connsiteX1" fmla="*/ 6607408 w 6607408"/>
              <a:gd name="connsiteY1" fmla="*/ 0 h 2237168"/>
              <a:gd name="connsiteX2" fmla="*/ 6607408 w 6607408"/>
              <a:gd name="connsiteY2" fmla="*/ 2237167 h 2237168"/>
              <a:gd name="connsiteX3" fmla="*/ 643965 w 6607408"/>
              <a:gd name="connsiteY3" fmla="*/ 2237167 h 2237168"/>
              <a:gd name="connsiteX4" fmla="*/ 643965 w 6607408"/>
              <a:gd name="connsiteY4" fmla="*/ 2237168 h 2237168"/>
              <a:gd name="connsiteX5" fmla="*/ 7730 w 6607408"/>
              <a:gd name="connsiteY5" fmla="*/ 2237168 h 2237168"/>
              <a:gd name="connsiteX6" fmla="*/ 7730 w 6607408"/>
              <a:gd name="connsiteY6" fmla="*/ 655216 h 2237168"/>
              <a:gd name="connsiteX7" fmla="*/ 0 w 6607408"/>
              <a:gd name="connsiteY7" fmla="*/ 647509 h 2237168"/>
              <a:gd name="connsiteX8" fmla="*/ 7730 w 6607408"/>
              <a:gd name="connsiteY8" fmla="*/ 639757 h 2237168"/>
              <a:gd name="connsiteX9" fmla="*/ 7730 w 6607408"/>
              <a:gd name="connsiteY9" fmla="*/ 635076 h 2237168"/>
              <a:gd name="connsiteX10" fmla="*/ 12397 w 6607408"/>
              <a:gd name="connsiteY10" fmla="*/ 635076 h 2237168"/>
              <a:gd name="connsiteX11" fmla="*/ 643965 w 6607408"/>
              <a:gd name="connsiteY11" fmla="*/ 1687 h 2237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607408" h="2237168">
                <a:moveTo>
                  <a:pt x="643965" y="0"/>
                </a:moveTo>
                <a:lnTo>
                  <a:pt x="6607408" y="0"/>
                </a:lnTo>
                <a:lnTo>
                  <a:pt x="6607408" y="2237167"/>
                </a:lnTo>
                <a:lnTo>
                  <a:pt x="643965" y="2237167"/>
                </a:lnTo>
                <a:lnTo>
                  <a:pt x="643965" y="2237168"/>
                </a:lnTo>
                <a:lnTo>
                  <a:pt x="7730" y="2237168"/>
                </a:lnTo>
                <a:lnTo>
                  <a:pt x="7730" y="655216"/>
                </a:lnTo>
                <a:lnTo>
                  <a:pt x="0" y="647509"/>
                </a:lnTo>
                <a:lnTo>
                  <a:pt x="7730" y="639757"/>
                </a:lnTo>
                <a:lnTo>
                  <a:pt x="7730" y="635076"/>
                </a:lnTo>
                <a:lnTo>
                  <a:pt x="12397" y="635076"/>
                </a:lnTo>
                <a:lnTo>
                  <a:pt x="643965" y="1687"/>
                </a:lnTo>
                <a:close/>
              </a:path>
            </a:pathLst>
          </a:cu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IN" sz="1600" b="1" dirty="0" err="1">
              <a:solidFill>
                <a:srgbClr val="FFC000"/>
              </a:solidFill>
            </a:endParaRPr>
          </a:p>
        </p:txBody>
      </p:sp>
      <p:sp>
        <p:nvSpPr>
          <p:cNvPr id="42" name="Title 1">
            <a:extLst>
              <a:ext uri="{FF2B5EF4-FFF2-40B4-BE49-F238E27FC236}">
                <a16:creationId xmlns:a16="http://schemas.microsoft.com/office/drawing/2014/main" id="{9E90D4A6-EABC-4668-B33A-12C8E0ACFBB3}"/>
              </a:ext>
            </a:extLst>
          </p:cNvPr>
          <p:cNvSpPr>
            <a:spLocks noGrp="1"/>
          </p:cNvSpPr>
          <p:nvPr userDrawn="1">
            <p:ph type="ctrTitle" hasCustomPrompt="1"/>
          </p:nvPr>
        </p:nvSpPr>
        <p:spPr>
          <a:xfrm>
            <a:off x="1339912" y="2601113"/>
            <a:ext cx="6859208" cy="707886"/>
          </a:xfrm>
        </p:spPr>
        <p:txBody>
          <a:bodyPr wrap="square" anchor="b">
            <a:spAutoFit/>
          </a:bodyPr>
          <a:lstStyle>
            <a:lvl1pPr>
              <a:defRPr sz="4000">
                <a:solidFill>
                  <a:schemeClr val="bg1"/>
                </a:solidFill>
              </a:defRPr>
            </a:lvl1pPr>
          </a:lstStyle>
          <a:p>
            <a:r>
              <a:rPr lang="en-US" dirty="0"/>
              <a:t>TITLE OF THE DOCUMENT</a:t>
            </a:r>
          </a:p>
        </p:txBody>
      </p:sp>
      <p:sp>
        <p:nvSpPr>
          <p:cNvPr id="43" name="Subtitle 2">
            <a:extLst>
              <a:ext uri="{FF2B5EF4-FFF2-40B4-BE49-F238E27FC236}">
                <a16:creationId xmlns:a16="http://schemas.microsoft.com/office/drawing/2014/main" id="{5A7FD2E5-3430-4B6D-8B88-FEEF41234A8A}"/>
              </a:ext>
            </a:extLst>
          </p:cNvPr>
          <p:cNvSpPr>
            <a:spLocks noGrp="1"/>
          </p:cNvSpPr>
          <p:nvPr userDrawn="1">
            <p:ph type="subTitle" idx="1" hasCustomPrompt="1"/>
          </p:nvPr>
        </p:nvSpPr>
        <p:spPr>
          <a:xfrm>
            <a:off x="1339912" y="4237607"/>
            <a:ext cx="6859208" cy="492443"/>
          </a:xfrm>
        </p:spPr>
        <p:txBody>
          <a:bodyPr/>
          <a:lstStyle>
            <a:lvl1pPr>
              <a:defRPr sz="3200">
                <a:solidFill>
                  <a:schemeClr val="bg1"/>
                </a:solidFill>
              </a:defRPr>
            </a:lvl1pPr>
          </a:lstStyle>
          <a:p>
            <a:r>
              <a:rPr lang="en-US"/>
              <a:t>EDIT SUBTITLE</a:t>
            </a:r>
            <a:endParaRPr lang="en-US" dirty="0"/>
          </a:p>
        </p:txBody>
      </p:sp>
      <p:sp>
        <p:nvSpPr>
          <p:cNvPr id="85" name="Text Placeholder 84">
            <a:extLst>
              <a:ext uri="{FF2B5EF4-FFF2-40B4-BE49-F238E27FC236}">
                <a16:creationId xmlns:a16="http://schemas.microsoft.com/office/drawing/2014/main" id="{217D11FD-233F-4482-938B-82CA452ECE9C}"/>
              </a:ext>
            </a:extLst>
          </p:cNvPr>
          <p:cNvSpPr>
            <a:spLocks noGrp="1"/>
          </p:cNvSpPr>
          <p:nvPr userDrawn="1">
            <p:ph type="body" sz="quarter" idx="10"/>
          </p:nvPr>
        </p:nvSpPr>
        <p:spPr>
          <a:xfrm>
            <a:off x="1339399" y="3407042"/>
            <a:ext cx="6841373" cy="430887"/>
          </a:xfrm>
        </p:spPr>
        <p:txBody>
          <a:bodyPr vert="horz" wrap="square" lIns="0" tIns="0" rIns="0" bIns="0" rtlCol="0">
            <a:spAutoFit/>
          </a:bodyPr>
          <a:lstStyle>
            <a:lvl1pPr>
              <a:defRPr lang="en-US" sz="2800" i="0" dirty="0" smtClean="0">
                <a:solidFill>
                  <a:schemeClr val="bg1"/>
                </a:solidFill>
              </a:defRPr>
            </a:lvl1pPr>
            <a:lvl2pPr>
              <a:defRPr lang="en-US" dirty="0" smtClean="0"/>
            </a:lvl2pPr>
            <a:lvl3pPr>
              <a:defRPr lang="en-US" dirty="0" smtClean="0"/>
            </a:lvl3pPr>
            <a:lvl4pPr>
              <a:defRPr lang="en-US" dirty="0" smtClean="0"/>
            </a:lvl4pPr>
            <a:lvl5pPr>
              <a:defRPr lang="en-IN" dirty="0"/>
            </a:lvl5pPr>
          </a:lstStyle>
          <a:p>
            <a:pPr lvl="0"/>
            <a:r>
              <a:rPr lang="en-US" dirty="0"/>
              <a:t>Edit Master text styles</a:t>
            </a:r>
          </a:p>
        </p:txBody>
      </p:sp>
    </p:spTree>
    <p:extLst>
      <p:ext uri="{BB962C8B-B14F-4D97-AF65-F5344CB8AC3E}">
        <p14:creationId xmlns:p14="http://schemas.microsoft.com/office/powerpoint/2010/main" val="102841644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slidemodel2">
    <p:bg>
      <p:bgPr>
        <a:gradFill flip="none" rotWithShape="1">
          <a:gsLst>
            <a:gs pos="55000">
              <a:srgbClr val="1181AE"/>
            </a:gs>
            <a:gs pos="0">
              <a:srgbClr val="1181AE"/>
            </a:gs>
            <a:gs pos="100000">
              <a:srgbClr val="095474"/>
            </a:gs>
          </a:gsLst>
          <a:path path="circle">
            <a:fillToRect l="50000" t="50000" r="50000" b="50000"/>
          </a:path>
          <a:tileRect/>
        </a:gra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218677" y="2870860"/>
            <a:ext cx="5932223" cy="711081"/>
          </a:xfrm>
        </p:spPr>
        <p:txBody>
          <a:bodyPr>
            <a:normAutofit/>
          </a:bodyPr>
          <a:lstStyle>
            <a:lvl1pPr algn="ctr">
              <a:defRPr sz="3600" b="0">
                <a:solidFill>
                  <a:schemeClr val="bg1"/>
                </a:solidFill>
                <a:effectLst>
                  <a:outerShdw blurRad="38100" dist="38100" dir="2700000" algn="tl">
                    <a:srgbClr val="000000">
                      <a:alpha val="43137"/>
                    </a:srgbClr>
                  </a:outerShdw>
                </a:effectLst>
                <a:latin typeface="+mj-lt"/>
                <a:ea typeface="Open Sans" pitchFamily="34" charset="0"/>
                <a:cs typeface="Open Sans" pitchFamily="34" charset="0"/>
              </a:defRPr>
            </a:lvl1pPr>
          </a:lstStyle>
          <a:p>
            <a:r>
              <a:rPr lang="en-US" dirty="0"/>
              <a:t>SlideModel.com</a:t>
            </a:r>
          </a:p>
        </p:txBody>
      </p:sp>
    </p:spTree>
    <p:extLst>
      <p:ext uri="{BB962C8B-B14F-4D97-AF65-F5344CB8AC3E}">
        <p14:creationId xmlns:p14="http://schemas.microsoft.com/office/powerpoint/2010/main" val="138398458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694"/>
            <a:ext cx="10363200" cy="1470025"/>
          </a:xfrm>
        </p:spPr>
        <p:txBody>
          <a:bodyPr/>
          <a:lstStyle/>
          <a:p>
            <a:r>
              <a:rPr lang="en-US"/>
              <a:t>Click to edit Master title style</a:t>
            </a:r>
          </a:p>
        </p:txBody>
      </p:sp>
      <p:sp>
        <p:nvSpPr>
          <p:cNvPr id="3" name="Subtitle 2"/>
          <p:cNvSpPr>
            <a:spLocks noGrp="1"/>
          </p:cNvSpPr>
          <p:nvPr>
            <p:ph type="subTitle" idx="1"/>
          </p:nvPr>
        </p:nvSpPr>
        <p:spPr>
          <a:xfrm>
            <a:off x="1828800" y="3886200"/>
            <a:ext cx="85344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215110259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297983897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7169"/>
            <a:ext cx="103632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184898922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609600" y="1600206"/>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7600" y="1600206"/>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134642655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9600" y="1535113"/>
            <a:ext cx="5386917"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93486" y="1535113"/>
            <a:ext cx="5389033"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93486"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195150747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253180747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B6F15528-21DE-4FAA-801E-634DDDAF4B2B}" type="slidenum">
              <a:rPr lang="en-US" smtClean="0"/>
              <a:pPr/>
              <a:t>‹#›</a:t>
            </a:fld>
            <a:endParaRPr lang="en-US"/>
          </a:p>
        </p:txBody>
      </p:sp>
      <p:sp>
        <p:nvSpPr>
          <p:cNvPr id="5" name="Slide Number"/>
          <p:cNvSpPr txBox="1">
            <a:spLocks/>
          </p:cNvSpPr>
          <p:nvPr userDrawn="1"/>
        </p:nvSpPr>
        <p:spPr bwMode="auto">
          <a:xfrm>
            <a:off x="76200" y="6627914"/>
            <a:ext cx="150682" cy="153888"/>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fontAlgn="base">
              <a:spcBef>
                <a:spcPct val="0"/>
              </a:spcBef>
              <a:spcAft>
                <a:spcPct val="0"/>
              </a:spcAft>
            </a:pPr>
            <a:fld id="{42C328C1-A84F-4A39-A664-DBA00541A8C6}" type="slidenum">
              <a:rPr lang="en-US" sz="1000" smtClean="0">
                <a:solidFill>
                  <a:prstClr val="black"/>
                </a:solidFill>
              </a:rPr>
              <a:pPr algn="r" fontAlgn="base">
                <a:spcBef>
                  <a:spcPct val="0"/>
                </a:spcBef>
                <a:spcAft>
                  <a:spcPct val="0"/>
                </a:spcAft>
              </a:pPr>
              <a:t>‹#›</a:t>
            </a:fld>
            <a:endParaRPr lang="en-US" sz="1000" dirty="0">
              <a:solidFill>
                <a:prstClr val="black"/>
              </a:solidFill>
            </a:endParaRPr>
          </a:p>
        </p:txBody>
      </p:sp>
    </p:spTree>
    <p:extLst>
      <p:ext uri="{BB962C8B-B14F-4D97-AF65-F5344CB8AC3E}">
        <p14:creationId xmlns:p14="http://schemas.microsoft.com/office/powerpoint/2010/main" val="429099583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67" y="273050"/>
            <a:ext cx="4011084"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4766733" y="273108"/>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667" y="1435103"/>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131235660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4800600"/>
            <a:ext cx="73152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389717" y="612775"/>
            <a:ext cx="73152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2389717" y="5367338"/>
            <a:ext cx="7315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85764479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extBox 1"/>
          <p:cNvSpPr txBox="1"/>
          <p:nvPr userDrawn="1"/>
        </p:nvSpPr>
        <p:spPr>
          <a:xfrm>
            <a:off x="0" y="4192250"/>
            <a:ext cx="12192000" cy="1446550"/>
          </a:xfrm>
          <a:prstGeom prst="rect">
            <a:avLst/>
          </a:prstGeom>
          <a:gradFill flip="none" rotWithShape="1">
            <a:gsLst>
              <a:gs pos="100000">
                <a:srgbClr val="339933"/>
              </a:gs>
              <a:gs pos="3000">
                <a:schemeClr val="tx2">
                  <a:lumMod val="75000"/>
                </a:schemeClr>
              </a:gs>
            </a:gsLst>
            <a:lin ang="5400000" scaled="0"/>
            <a:tileRect/>
          </a:gradFill>
        </p:spPr>
        <p:txBody>
          <a:bodyPr wrap="square" rtlCol="0">
            <a:spAutoFit/>
          </a:bodyPr>
          <a:lstStyle/>
          <a:p>
            <a:endParaRPr lang="en-US" sz="8800" b="1" dirty="0">
              <a:solidFill>
                <a:schemeClr val="accent1">
                  <a:lumMod val="50000"/>
                </a:schemeClr>
              </a:solidFill>
              <a:ea typeface="+mj-ea"/>
              <a:cs typeface="Arial" panose="020B0604020202020204" pitchFamily="34" charset="0"/>
            </a:endParaRPr>
          </a:p>
        </p:txBody>
      </p:sp>
    </p:spTree>
    <p:extLst>
      <p:ext uri="{BB962C8B-B14F-4D97-AF65-F5344CB8AC3E}">
        <p14:creationId xmlns:p14="http://schemas.microsoft.com/office/powerpoint/2010/main" val="3139597026"/>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384658105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39200" y="274694"/>
            <a:ext cx="2743200" cy="58515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609600" y="274694"/>
            <a:ext cx="80264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266043243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2" name="TextBox 1"/>
          <p:cNvSpPr txBox="1"/>
          <p:nvPr userDrawn="1"/>
        </p:nvSpPr>
        <p:spPr>
          <a:xfrm>
            <a:off x="0" y="3733800"/>
            <a:ext cx="12192000" cy="1446550"/>
          </a:xfrm>
          <a:prstGeom prst="rect">
            <a:avLst/>
          </a:prstGeom>
          <a:gradFill flip="none" rotWithShape="1">
            <a:gsLst>
              <a:gs pos="100000">
                <a:srgbClr val="339933"/>
              </a:gs>
              <a:gs pos="3000">
                <a:schemeClr val="tx2">
                  <a:lumMod val="75000"/>
                </a:schemeClr>
              </a:gs>
            </a:gsLst>
            <a:lin ang="5400000" scaled="0"/>
            <a:tileRect/>
          </a:gradFill>
        </p:spPr>
        <p:txBody>
          <a:bodyPr wrap="square" rtlCol="0">
            <a:spAutoFit/>
          </a:bodyPr>
          <a:lstStyle/>
          <a:p>
            <a:endParaRPr lang="en-US" sz="8800" b="1" dirty="0">
              <a:solidFill>
                <a:schemeClr val="accent1">
                  <a:lumMod val="50000"/>
                </a:schemeClr>
              </a:solidFill>
              <a:ea typeface="+mj-ea"/>
              <a:cs typeface="Arial" panose="020B0604020202020204" pitchFamily="34" charset="0"/>
            </a:endParaRPr>
          </a:p>
        </p:txBody>
      </p:sp>
    </p:spTree>
    <p:extLst>
      <p:ext uri="{BB962C8B-B14F-4D97-AF65-F5344CB8AC3E}">
        <p14:creationId xmlns:p14="http://schemas.microsoft.com/office/powerpoint/2010/main" val="102509919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US" dirty="0"/>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8C5F81AD-0A25-4B1A-B740-3C7984BD2BEF}"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401594009"/>
      </p:ext>
    </p:extLst>
  </p:cSld>
  <p:clrMapOvr>
    <a:masterClrMapping/>
  </p:clrMapOvr>
  <mc:AlternateContent xmlns:mc="http://schemas.openxmlformats.org/markup-compatibility/2006" xmlns:p14="http://schemas.microsoft.com/office/powerpoint/2010/main">
    <mc:Choice Requires="p14">
      <p:transition spd="slow" p14:dur="1250">
        <p14:switch dir="r"/>
      </p:transition>
    </mc:Choice>
    <mc:Fallback xmlns="">
      <p:transition spd="slow">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8C5F81AD-0A25-4B1A-B740-3C7984BD2BEF}"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261977823"/>
      </p:ext>
    </p:extLst>
  </p:cSld>
  <p:clrMapOvr>
    <a:masterClrMapping/>
  </p:clrMapOvr>
  <mc:AlternateContent xmlns:mc="http://schemas.openxmlformats.org/markup-compatibility/2006" xmlns:p14="http://schemas.microsoft.com/office/powerpoint/2010/main">
    <mc:Choice Requires="p14">
      <p:transition spd="slow" p14:dur="1250">
        <p14:switch dir="r"/>
      </p:transition>
    </mc:Choice>
    <mc:Fallback xmlns="">
      <p:transition spd="slow">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US" dirty="0"/>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8C5F81AD-0A25-4B1A-B740-3C7984BD2BEF}"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224214390"/>
      </p:ext>
    </p:extLst>
  </p:cSld>
  <p:clrMapOvr>
    <a:masterClrMapping/>
  </p:clrMapOvr>
  <mc:AlternateContent xmlns:mc="http://schemas.openxmlformats.org/markup-compatibility/2006" xmlns:p14="http://schemas.microsoft.com/office/powerpoint/2010/main">
    <mc:Choice Requires="p14">
      <p:transition spd="slow" p14:dur="1250">
        <p14:switch dir="r"/>
      </p:transition>
    </mc:Choice>
    <mc:Fallback xmlns="">
      <p:transition spd="slow">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8C5F81AD-0A25-4B1A-B740-3C7984BD2BEF}"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397172241"/>
      </p:ext>
    </p:extLst>
  </p:cSld>
  <p:clrMapOvr>
    <a:masterClrMapping/>
  </p:clrMapOvr>
  <mc:AlternateContent xmlns:mc="http://schemas.openxmlformats.org/markup-compatibility/2006" xmlns:p14="http://schemas.microsoft.com/office/powerpoint/2010/main">
    <mc:Choice Requires="p14">
      <p:transition spd="slow" p14:dur="1250">
        <p14:switch dir="r"/>
      </p:transition>
    </mc:Choice>
    <mc:Fallback xmlns="">
      <p:transition spd="slow">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endParaRPr lang="en-US" dirty="0"/>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endParaRPr lang="en-US">
              <a:solidFill>
                <a:prstClr val="black">
                  <a:tint val="75000"/>
                </a:prstClr>
              </a:solidFill>
            </a:endParaRPr>
          </a:p>
        </p:txBody>
      </p:sp>
      <p:sp>
        <p:nvSpPr>
          <p:cNvPr id="8" name="Footer Placeholder 7"/>
          <p:cNvSpPr>
            <a:spLocks noGrp="1"/>
          </p:cNvSpPr>
          <p:nvPr>
            <p:ph type="ftr" sz="quarter" idx="11"/>
          </p:nvPr>
        </p:nvSpPr>
        <p:spPr/>
        <p:txBody>
          <a:bodyPr/>
          <a:lstStyle/>
          <a:p>
            <a:endParaRPr lang="en-US">
              <a:solidFill>
                <a:prstClr val="black">
                  <a:tint val="75000"/>
                </a:prstClr>
              </a:solidFill>
            </a:endParaRPr>
          </a:p>
        </p:txBody>
      </p:sp>
      <p:sp>
        <p:nvSpPr>
          <p:cNvPr id="9" name="Slide Number Placeholder 8"/>
          <p:cNvSpPr>
            <a:spLocks noGrp="1"/>
          </p:cNvSpPr>
          <p:nvPr>
            <p:ph type="sldNum" sz="quarter" idx="12"/>
          </p:nvPr>
        </p:nvSpPr>
        <p:spPr/>
        <p:txBody>
          <a:bodyPr/>
          <a:lstStyle/>
          <a:p>
            <a:fld id="{8C5F81AD-0A25-4B1A-B740-3C7984BD2BEF}"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911430232"/>
      </p:ext>
    </p:extLst>
  </p:cSld>
  <p:clrMapOvr>
    <a:masterClrMapping/>
  </p:clrMapOvr>
  <mc:AlternateContent xmlns:mc="http://schemas.openxmlformats.org/markup-compatibility/2006" xmlns:p14="http://schemas.microsoft.com/office/powerpoint/2010/main">
    <mc:Choice Requires="p14">
      <p:transition spd="slow" p14:dur="1250">
        <p14:switch dir="r"/>
      </p:transition>
    </mc:Choice>
    <mc:Fallback xmlns="">
      <p:transition spd="slow">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endParaRPr lang="en-US">
              <a:solidFill>
                <a:prstClr val="black">
                  <a:tint val="75000"/>
                </a:prstClr>
              </a:solidFill>
            </a:endParaRPr>
          </a:p>
        </p:txBody>
      </p:sp>
      <p:sp>
        <p:nvSpPr>
          <p:cNvPr id="4" name="Footer Placeholder 3"/>
          <p:cNvSpPr>
            <a:spLocks noGrp="1"/>
          </p:cNvSpPr>
          <p:nvPr>
            <p:ph type="ftr" sz="quarter" idx="11"/>
          </p:nvPr>
        </p:nvSpPr>
        <p:spPr/>
        <p:txBody>
          <a:bodyPr/>
          <a:lstStyle/>
          <a:p>
            <a:endParaRPr lang="en-US">
              <a:solidFill>
                <a:prstClr val="black">
                  <a:tint val="75000"/>
                </a:prstClr>
              </a:solidFill>
            </a:endParaRPr>
          </a:p>
        </p:txBody>
      </p:sp>
      <p:sp>
        <p:nvSpPr>
          <p:cNvPr id="5" name="Slide Number Placeholder 4"/>
          <p:cNvSpPr>
            <a:spLocks noGrp="1"/>
          </p:cNvSpPr>
          <p:nvPr>
            <p:ph type="sldNum" sz="quarter" idx="12"/>
          </p:nvPr>
        </p:nvSpPr>
        <p:spPr/>
        <p:txBody>
          <a:bodyPr/>
          <a:lstStyle/>
          <a:p>
            <a:fld id="{8C5F81AD-0A25-4B1A-B740-3C7984BD2BEF}"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784262293"/>
      </p:ext>
    </p:extLst>
  </p:cSld>
  <p:clrMapOvr>
    <a:masterClrMapping/>
  </p:clrMapOvr>
  <mc:AlternateContent xmlns:mc="http://schemas.openxmlformats.org/markup-compatibility/2006" xmlns:p14="http://schemas.microsoft.com/office/powerpoint/2010/main">
    <mc:Choice Requires="p14">
      <p:transition spd="slow" p14:dur="1250">
        <p14:switch dir="r"/>
      </p:transition>
    </mc:Choice>
    <mc:Fallback xmlns="">
      <p:transition spd="slow">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endParaRPr lang="en-US">
              <a:solidFill>
                <a:prstClr val="black">
                  <a:tint val="75000"/>
                </a:prstClr>
              </a:solidFill>
            </a:endParaRPr>
          </a:p>
        </p:txBody>
      </p:sp>
      <p:sp>
        <p:nvSpPr>
          <p:cNvPr id="3" name="Footer Placeholder 2"/>
          <p:cNvSpPr>
            <a:spLocks noGrp="1"/>
          </p:cNvSpPr>
          <p:nvPr>
            <p:ph type="ftr" sz="quarter" idx="11"/>
          </p:nvPr>
        </p:nvSpPr>
        <p:spPr/>
        <p:txBody>
          <a:bodyPr/>
          <a:lstStyle/>
          <a:p>
            <a:endParaRPr lang="en-US">
              <a:solidFill>
                <a:prstClr val="black">
                  <a:tint val="75000"/>
                </a:prstClr>
              </a:solidFill>
            </a:endParaRPr>
          </a:p>
        </p:txBody>
      </p:sp>
      <p:sp>
        <p:nvSpPr>
          <p:cNvPr id="4" name="Slide Number Placeholder 3"/>
          <p:cNvSpPr>
            <a:spLocks noGrp="1"/>
          </p:cNvSpPr>
          <p:nvPr>
            <p:ph type="sldNum" sz="quarter" idx="12"/>
          </p:nvPr>
        </p:nvSpPr>
        <p:spPr/>
        <p:txBody>
          <a:bodyPr/>
          <a:lstStyle/>
          <a:p>
            <a:fld id="{8C5F81AD-0A25-4B1A-B740-3C7984BD2BEF}"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30363686"/>
      </p:ext>
    </p:extLst>
  </p:cSld>
  <p:clrMapOvr>
    <a:masterClrMapping/>
  </p:clrMapOvr>
  <mc:AlternateContent xmlns:mc="http://schemas.openxmlformats.org/markup-compatibility/2006" xmlns:p14="http://schemas.microsoft.com/office/powerpoint/2010/main">
    <mc:Choice Requires="p14">
      <p:transition spd="slow" p14:dur="1250">
        <p14:switch dir="r"/>
      </p:transition>
    </mc:Choice>
    <mc:Fallback xmlns="">
      <p:transition spd="slow">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13_Title Slide">
    <p:spTree>
      <p:nvGrpSpPr>
        <p:cNvPr id="1" name=""/>
        <p:cNvGrpSpPr/>
        <p:nvPr/>
      </p:nvGrpSpPr>
      <p:grpSpPr>
        <a:xfrm>
          <a:off x="0" y="0"/>
          <a:ext cx="0" cy="0"/>
          <a:chOff x="0" y="0"/>
          <a:chExt cx="0" cy="0"/>
        </a:xfrm>
      </p:grpSpPr>
      <p:sp>
        <p:nvSpPr>
          <p:cNvPr id="7" name="Picture Placeholder 6"/>
          <p:cNvSpPr>
            <a:spLocks noGrp="1"/>
          </p:cNvSpPr>
          <p:nvPr>
            <p:ph type="pic" sz="quarter" idx="16" hasCustomPrompt="1"/>
          </p:nvPr>
        </p:nvSpPr>
        <p:spPr>
          <a:xfrm>
            <a:off x="1325291" y="41"/>
            <a:ext cx="5195129" cy="4674887"/>
          </a:xfrm>
          <a:custGeom>
            <a:avLst/>
            <a:gdLst>
              <a:gd name="connsiteX0" fmla="*/ 1257458 w 5195129"/>
              <a:gd name="connsiteY0" fmla="*/ 0 h 4674887"/>
              <a:gd name="connsiteX1" fmla="*/ 4888355 w 5195129"/>
              <a:gd name="connsiteY1" fmla="*/ 0 h 4674887"/>
              <a:gd name="connsiteX2" fmla="*/ 4897797 w 5195129"/>
              <a:gd name="connsiteY2" fmla="*/ 10583 h 4674887"/>
              <a:gd name="connsiteX3" fmla="*/ 4991734 w 5195129"/>
              <a:gd name="connsiteY3" fmla="*/ 153016 h 4674887"/>
              <a:gd name="connsiteX4" fmla="*/ 5155578 w 5195129"/>
              <a:gd name="connsiteY4" fmla="*/ 618243 h 4674887"/>
              <a:gd name="connsiteX5" fmla="*/ 5191863 w 5195129"/>
              <a:gd name="connsiteY5" fmla="*/ 1214314 h 4674887"/>
              <a:gd name="connsiteX6" fmla="*/ 5140212 w 5195129"/>
              <a:gd name="connsiteY6" fmla="*/ 1702059 h 4674887"/>
              <a:gd name="connsiteX7" fmla="*/ 5065164 w 5195129"/>
              <a:gd name="connsiteY7" fmla="*/ 2086547 h 4674887"/>
              <a:gd name="connsiteX8" fmla="*/ 4969982 w 5195129"/>
              <a:gd name="connsiteY8" fmla="*/ 2462239 h 4674887"/>
              <a:gd name="connsiteX9" fmla="*/ 4966842 w 5195129"/>
              <a:gd name="connsiteY9" fmla="*/ 2481819 h 4674887"/>
              <a:gd name="connsiteX10" fmla="*/ 4948658 w 5195129"/>
              <a:gd name="connsiteY10" fmla="*/ 2545371 h 4674887"/>
              <a:gd name="connsiteX11" fmla="*/ 4938561 w 5195129"/>
              <a:gd name="connsiteY11" fmla="*/ 2572055 h 4674887"/>
              <a:gd name="connsiteX12" fmla="*/ 4784773 w 5195129"/>
              <a:gd name="connsiteY12" fmla="*/ 3040688 h 4674887"/>
              <a:gd name="connsiteX13" fmla="*/ 4548619 w 5195129"/>
              <a:gd name="connsiteY13" fmla="*/ 3590655 h 4674887"/>
              <a:gd name="connsiteX14" fmla="*/ 4250458 w 5195129"/>
              <a:gd name="connsiteY14" fmla="*/ 4073335 h 4674887"/>
              <a:gd name="connsiteX15" fmla="*/ 3878856 w 5195129"/>
              <a:gd name="connsiteY15" fmla="*/ 4443497 h 4674887"/>
              <a:gd name="connsiteX16" fmla="*/ 3186482 w 5195129"/>
              <a:gd name="connsiteY16" fmla="*/ 4674862 h 4674887"/>
              <a:gd name="connsiteX17" fmla="*/ 2891514 w 5195129"/>
              <a:gd name="connsiteY17" fmla="*/ 4643798 h 4674887"/>
              <a:gd name="connsiteX18" fmla="*/ 2828700 w 5195129"/>
              <a:gd name="connsiteY18" fmla="*/ 4634421 h 4674887"/>
              <a:gd name="connsiteX19" fmla="*/ 2731286 w 5195129"/>
              <a:gd name="connsiteY19" fmla="*/ 4606548 h 4674887"/>
              <a:gd name="connsiteX20" fmla="*/ 2693489 w 5195129"/>
              <a:gd name="connsiteY20" fmla="*/ 4588909 h 4674887"/>
              <a:gd name="connsiteX21" fmla="*/ 2259009 w 5195129"/>
              <a:gd name="connsiteY21" fmla="*/ 4386231 h 4674887"/>
              <a:gd name="connsiteX22" fmla="*/ 1725702 w 5195129"/>
              <a:gd name="connsiteY22" fmla="*/ 4009169 h 4674887"/>
              <a:gd name="connsiteX23" fmla="*/ 1036282 w 5195129"/>
              <a:gd name="connsiteY23" fmla="*/ 3354127 h 4674887"/>
              <a:gd name="connsiteX24" fmla="*/ 456082 w 5195129"/>
              <a:gd name="connsiteY24" fmla="*/ 2640093 h 4674887"/>
              <a:gd name="connsiteX25" fmla="*/ 152116 w 5195129"/>
              <a:gd name="connsiteY25" fmla="*/ 2096603 h 4674887"/>
              <a:gd name="connsiteX26" fmla="*/ 13326 w 5195129"/>
              <a:gd name="connsiteY26" fmla="*/ 1617813 h 4674887"/>
              <a:gd name="connsiteX27" fmla="*/ 19959 w 5195129"/>
              <a:gd name="connsiteY27" fmla="*/ 1209959 h 4674887"/>
              <a:gd name="connsiteX28" fmla="*/ 31259 w 5195129"/>
              <a:gd name="connsiteY28" fmla="*/ 1142921 h 4674887"/>
              <a:gd name="connsiteX29" fmla="*/ 53053 w 5195129"/>
              <a:gd name="connsiteY29" fmla="*/ 1066752 h 4674887"/>
              <a:gd name="connsiteX30" fmla="*/ 61817 w 5195129"/>
              <a:gd name="connsiteY30" fmla="*/ 1049035 h 4674887"/>
              <a:gd name="connsiteX31" fmla="*/ 105769 w 5195129"/>
              <a:gd name="connsiteY31" fmla="*/ 941036 h 4674887"/>
              <a:gd name="connsiteX32" fmla="*/ 367836 w 5195129"/>
              <a:gd name="connsiteY32" fmla="*/ 565570 h 4674887"/>
              <a:gd name="connsiteX33" fmla="*/ 837097 w 5195129"/>
              <a:gd name="connsiteY33" fmla="*/ 206920 h 4674887"/>
              <a:gd name="connsiteX34" fmla="*/ 1121761 w 5195129"/>
              <a:gd name="connsiteY34" fmla="*/ 57235 h 46748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5195129" h="4674887">
                <a:moveTo>
                  <a:pt x="1257458" y="0"/>
                </a:moveTo>
                <a:lnTo>
                  <a:pt x="4888355" y="0"/>
                </a:lnTo>
                <a:lnTo>
                  <a:pt x="4897797" y="10583"/>
                </a:lnTo>
                <a:cubicBezTo>
                  <a:pt x="4932002" y="55083"/>
                  <a:pt x="4963329" y="102548"/>
                  <a:pt x="4991734" y="153016"/>
                </a:cubicBezTo>
                <a:cubicBezTo>
                  <a:pt x="5073471" y="298496"/>
                  <a:pt x="5124502" y="454903"/>
                  <a:pt x="5155578" y="618243"/>
                </a:cubicBezTo>
                <a:cubicBezTo>
                  <a:pt x="5192956" y="815490"/>
                  <a:pt x="5200577" y="1014331"/>
                  <a:pt x="5191863" y="1214314"/>
                </a:cubicBezTo>
                <a:cubicBezTo>
                  <a:pt x="5184425" y="1378006"/>
                  <a:pt x="5166047" y="1540340"/>
                  <a:pt x="5140212" y="1702059"/>
                </a:cubicBezTo>
                <a:cubicBezTo>
                  <a:pt x="5119763" y="1831189"/>
                  <a:pt x="5095537" y="1959748"/>
                  <a:pt x="5065164" y="2086547"/>
                </a:cubicBezTo>
                <a:cubicBezTo>
                  <a:pt x="5035290" y="2212477"/>
                  <a:pt x="5001840" y="2337131"/>
                  <a:pt x="4969982" y="2462239"/>
                </a:cubicBezTo>
                <a:cubicBezTo>
                  <a:pt x="4968404" y="2468613"/>
                  <a:pt x="4967964" y="2475314"/>
                  <a:pt x="4966842" y="2481819"/>
                </a:cubicBezTo>
                <a:lnTo>
                  <a:pt x="4948658" y="2545371"/>
                </a:lnTo>
                <a:cubicBezTo>
                  <a:pt x="4945367" y="2554287"/>
                  <a:pt x="4941394" y="2563009"/>
                  <a:pt x="4938561" y="2572055"/>
                </a:cubicBezTo>
                <a:cubicBezTo>
                  <a:pt x="4891773" y="2729547"/>
                  <a:pt x="4841279" y="2886230"/>
                  <a:pt x="4784773" y="3040688"/>
                </a:cubicBezTo>
                <a:cubicBezTo>
                  <a:pt x="4715843" y="3228242"/>
                  <a:pt x="4638756" y="3412454"/>
                  <a:pt x="4548619" y="3590655"/>
                </a:cubicBezTo>
                <a:cubicBezTo>
                  <a:pt x="4462746" y="3759964"/>
                  <a:pt x="4366041" y="3922386"/>
                  <a:pt x="4250458" y="4073335"/>
                </a:cubicBezTo>
                <a:cubicBezTo>
                  <a:pt x="4143196" y="4213270"/>
                  <a:pt x="4022542" y="4339769"/>
                  <a:pt x="3878856" y="4443497"/>
                </a:cubicBezTo>
                <a:cubicBezTo>
                  <a:pt x="3672253" y="4592420"/>
                  <a:pt x="3442748" y="4673364"/>
                  <a:pt x="3186482" y="4674862"/>
                </a:cubicBezTo>
                <a:cubicBezTo>
                  <a:pt x="3087070" y="4675486"/>
                  <a:pt x="2988750" y="4664545"/>
                  <a:pt x="2891514" y="4643798"/>
                </a:cubicBezTo>
                <a:cubicBezTo>
                  <a:pt x="2870856" y="4639405"/>
                  <a:pt x="2849760" y="4637412"/>
                  <a:pt x="2828700" y="4634421"/>
                </a:cubicBezTo>
                <a:lnTo>
                  <a:pt x="2731286" y="4606548"/>
                </a:lnTo>
                <a:cubicBezTo>
                  <a:pt x="2718686" y="4600669"/>
                  <a:pt x="2706718" y="4593450"/>
                  <a:pt x="2693489" y="4588909"/>
                </a:cubicBezTo>
                <a:cubicBezTo>
                  <a:pt x="2541742" y="4536644"/>
                  <a:pt x="2397648" y="4467102"/>
                  <a:pt x="2259009" y="4386231"/>
                </a:cubicBezTo>
                <a:cubicBezTo>
                  <a:pt x="2070375" y="4276141"/>
                  <a:pt x="1894025" y="4148078"/>
                  <a:pt x="1725702" y="4009169"/>
                </a:cubicBezTo>
                <a:cubicBezTo>
                  <a:pt x="1480355" y="3807273"/>
                  <a:pt x="1253033" y="3586266"/>
                  <a:pt x="1036282" y="3354127"/>
                </a:cubicBezTo>
                <a:cubicBezTo>
                  <a:pt x="826552" y="3129305"/>
                  <a:pt x="629305" y="2894407"/>
                  <a:pt x="456082" y="2640093"/>
                </a:cubicBezTo>
                <a:cubicBezTo>
                  <a:pt x="338927" y="2467797"/>
                  <a:pt x="234138" y="2288421"/>
                  <a:pt x="152116" y="2096603"/>
                </a:cubicBezTo>
                <a:cubicBezTo>
                  <a:pt x="86077" y="1942724"/>
                  <a:pt x="36464" y="1783939"/>
                  <a:pt x="13326" y="1617813"/>
                </a:cubicBezTo>
                <a:cubicBezTo>
                  <a:pt x="-5531" y="1481481"/>
                  <a:pt x="-5295" y="1345552"/>
                  <a:pt x="19959" y="1209959"/>
                </a:cubicBezTo>
                <a:cubicBezTo>
                  <a:pt x="24128" y="1187644"/>
                  <a:pt x="27546" y="1165366"/>
                  <a:pt x="31259" y="1142921"/>
                </a:cubicBezTo>
                <a:lnTo>
                  <a:pt x="53053" y="1066752"/>
                </a:lnTo>
                <a:cubicBezTo>
                  <a:pt x="55998" y="1060766"/>
                  <a:pt x="59555" y="1055213"/>
                  <a:pt x="61817" y="1049035"/>
                </a:cubicBezTo>
                <a:cubicBezTo>
                  <a:pt x="76541" y="1013058"/>
                  <a:pt x="89516" y="976325"/>
                  <a:pt x="105769" y="941036"/>
                </a:cubicBezTo>
                <a:cubicBezTo>
                  <a:pt x="170030" y="799921"/>
                  <a:pt x="260001" y="676524"/>
                  <a:pt x="367836" y="565570"/>
                </a:cubicBezTo>
                <a:cubicBezTo>
                  <a:pt x="506395" y="422961"/>
                  <a:pt x="666033" y="307366"/>
                  <a:pt x="837097" y="206920"/>
                </a:cubicBezTo>
                <a:cubicBezTo>
                  <a:pt x="929764" y="152419"/>
                  <a:pt x="1024798" y="102766"/>
                  <a:pt x="1121761" y="57235"/>
                </a:cubicBezTo>
                <a:close/>
              </a:path>
            </a:pathLst>
          </a:custGeom>
          <a:pattFill prst="pct10">
            <a:fgClr>
              <a:schemeClr val="tx1"/>
            </a:fgClr>
            <a:bgClr>
              <a:schemeClr val="bg1"/>
            </a:bgClr>
          </a:pattFill>
        </p:spPr>
        <p:txBody>
          <a:bodyPr wrap="square" anchor="ctr">
            <a:noAutofit/>
          </a:bodyPr>
          <a:lstStyle>
            <a:lvl1pPr algn="ctr">
              <a:defRPr sz="1600" b="0" i="0">
                <a:latin typeface="Titillium" charset="0"/>
                <a:ea typeface="Titillium" charset="0"/>
                <a:cs typeface="Titillium" charset="0"/>
              </a:defRPr>
            </a:lvl1pPr>
          </a:lstStyle>
          <a:p>
            <a:r>
              <a:rPr lang="en-US" dirty="0"/>
              <a:t>Insert Image</a:t>
            </a:r>
          </a:p>
        </p:txBody>
      </p:sp>
      <p:sp>
        <p:nvSpPr>
          <p:cNvPr id="3" name="Title 1">
            <a:extLst>
              <a:ext uri="{FF2B5EF4-FFF2-40B4-BE49-F238E27FC236}">
                <a16:creationId xmlns:a16="http://schemas.microsoft.com/office/drawing/2014/main" id="{CBF662B1-E5B0-48D2-B39D-43A30B4B8A46}"/>
              </a:ext>
            </a:extLst>
          </p:cNvPr>
          <p:cNvSpPr>
            <a:spLocks noGrp="1"/>
          </p:cNvSpPr>
          <p:nvPr>
            <p:ph type="title"/>
          </p:nvPr>
        </p:nvSpPr>
        <p:spPr>
          <a:xfrm>
            <a:off x="6858003" y="230314"/>
            <a:ext cx="5104003" cy="584775"/>
          </a:xfrm>
        </p:spPr>
        <p:txBody>
          <a:bodyPr>
            <a:spAutoFit/>
          </a:bodyPr>
          <a:lstStyle>
            <a:lvl1pPr>
              <a:defRPr lang="en-GB" dirty="0">
                <a:latin typeface="Open Sans" panose="020B0606030504020204" pitchFamily="34" charset="0"/>
                <a:ea typeface="Open Sans" panose="020B0606030504020204" pitchFamily="34" charset="0"/>
                <a:cs typeface="Open Sans" panose="020B0606030504020204" pitchFamily="34" charset="0"/>
              </a:defRPr>
            </a:lvl1pPr>
          </a:lstStyle>
          <a:p>
            <a:pPr lvl="0"/>
            <a:r>
              <a:rPr lang="en-US" dirty="0"/>
              <a:t>Click to edit Master title style</a:t>
            </a:r>
            <a:endParaRPr lang="en-GB" dirty="0"/>
          </a:p>
        </p:txBody>
      </p:sp>
      <p:sp>
        <p:nvSpPr>
          <p:cNvPr id="6" name="Text Placeholder 5">
            <a:extLst>
              <a:ext uri="{FF2B5EF4-FFF2-40B4-BE49-F238E27FC236}">
                <a16:creationId xmlns:a16="http://schemas.microsoft.com/office/drawing/2014/main" id="{B142802C-AEEA-4B92-B5B3-0756576E8F5B}"/>
              </a:ext>
            </a:extLst>
          </p:cNvPr>
          <p:cNvSpPr>
            <a:spLocks noGrp="1"/>
          </p:cNvSpPr>
          <p:nvPr>
            <p:ph type="body" sz="quarter" idx="17"/>
          </p:nvPr>
        </p:nvSpPr>
        <p:spPr>
          <a:xfrm>
            <a:off x="6858118" y="843419"/>
            <a:ext cx="5104001" cy="246221"/>
          </a:xfrm>
        </p:spPr>
        <p:txBody>
          <a:bodyPr lIns="90000"/>
          <a:lstStyle>
            <a:lvl1pPr>
              <a:defRPr>
                <a:solidFill>
                  <a:schemeClr val="tx1"/>
                </a:solidFill>
              </a:defRPr>
            </a:lvl1pPr>
          </a:lstStyle>
          <a:p>
            <a:pPr lvl="0"/>
            <a:r>
              <a:rPr lang="en-US" dirty="0"/>
              <a:t>Edit Master text styles</a:t>
            </a:r>
          </a:p>
        </p:txBody>
      </p:sp>
    </p:spTree>
    <p:extLst>
      <p:ext uri="{BB962C8B-B14F-4D97-AF65-F5344CB8AC3E}">
        <p14:creationId xmlns:p14="http://schemas.microsoft.com/office/powerpoint/2010/main" val="3055720889"/>
      </p:ext>
    </p:extLst>
  </p:cSld>
  <p:clrMapOvr>
    <a:masterClrMapping/>
  </p:clrMapOvr>
  <p:extLst>
    <p:ext uri="{DCECCB84-F9BA-43D5-87BE-67443E8EF086}">
      <p15:sldGuideLst xmlns:p15="http://schemas.microsoft.com/office/powerpoint/2012/main">
        <p15:guide id="1" orient="horz" pos="2160">
          <p15:clr>
            <a:srgbClr val="FBAE40"/>
          </p15:clr>
        </p15:guide>
        <p15:guide id="2" pos="5120">
          <p15:clr>
            <a:srgbClr val="FBAE40"/>
          </p15:clr>
        </p15:guide>
        <p15:guide id="3" pos="1504">
          <p15:clr>
            <a:srgbClr val="FBAE40"/>
          </p15:clr>
        </p15:guide>
        <p15:guide id="4" pos="8736">
          <p15:clr>
            <a:srgbClr val="FBAE40"/>
          </p15:clr>
        </p15:guide>
        <p15:guide id="5" orient="horz" pos="480">
          <p15:clr>
            <a:srgbClr val="FBAE40"/>
          </p15:clr>
        </p15:guide>
        <p15:guide id="6" orient="horz" pos="3840">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US" dirty="0"/>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8C5F81AD-0A25-4B1A-B740-3C7984BD2BEF}"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244575940"/>
      </p:ext>
    </p:extLst>
  </p:cSld>
  <p:clrMapOvr>
    <a:masterClrMapping/>
  </p:clrMapOvr>
  <mc:AlternateContent xmlns:mc="http://schemas.openxmlformats.org/markup-compatibility/2006" xmlns:p14="http://schemas.microsoft.com/office/powerpoint/2010/main">
    <mc:Choice Requires="p14">
      <p:transition spd="slow" p14:dur="1250">
        <p14:switch dir="r"/>
      </p:transition>
    </mc:Choice>
    <mc:Fallback xmlns="">
      <p:transition spd="slow">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US" dirty="0"/>
          </a:p>
        </p:txBody>
      </p:sp>
      <p:sp>
        <p:nvSpPr>
          <p:cNvPr id="3" name="Picture Placeholder 2"/>
          <p:cNvSpPr>
            <a:spLocks noGrp="1" noChangeAspect="1"/>
          </p:cNvSpPr>
          <p:nvPr>
            <p:ph type="pic" idx="1"/>
          </p:nvPr>
        </p:nvSpPr>
        <p:spPr>
          <a:xfrm>
            <a:off x="5183188" y="987425"/>
            <a:ext cx="617220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8C5F81AD-0A25-4B1A-B740-3C7984BD2BEF}"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7685372"/>
      </p:ext>
    </p:extLst>
  </p:cSld>
  <p:clrMapOvr>
    <a:masterClrMapping/>
  </p:clrMapOvr>
  <mc:AlternateContent xmlns:mc="http://schemas.openxmlformats.org/markup-compatibility/2006" xmlns:p14="http://schemas.microsoft.com/office/powerpoint/2010/main">
    <mc:Choice Requires="p14">
      <p:transition spd="slow" p14:dur="1250">
        <p14:switch dir="r"/>
      </p:transition>
    </mc:Choice>
    <mc:Fallback xmlns="">
      <p:transition spd="slow">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8C5F81AD-0A25-4B1A-B740-3C7984BD2BEF}"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452529476"/>
      </p:ext>
    </p:extLst>
  </p:cSld>
  <p:clrMapOvr>
    <a:masterClrMapping/>
  </p:clrMapOvr>
  <mc:AlternateContent xmlns:mc="http://schemas.openxmlformats.org/markup-compatibility/2006" xmlns:p14="http://schemas.microsoft.com/office/powerpoint/2010/main">
    <mc:Choice Requires="p14">
      <p:transition spd="slow" p14:dur="1250">
        <p14:switch dir="r"/>
      </p:transition>
    </mc:Choice>
    <mc:Fallback xmlns="">
      <p:transition spd="slow">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8C5F81AD-0A25-4B1A-B740-3C7984BD2BEF}"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488040077"/>
      </p:ext>
    </p:extLst>
  </p:cSld>
  <p:clrMapOvr>
    <a:masterClrMapping/>
  </p:clrMapOvr>
  <mc:AlternateContent xmlns:mc="http://schemas.openxmlformats.org/markup-compatibility/2006" xmlns:p14="http://schemas.microsoft.com/office/powerpoint/2010/main">
    <mc:Choice Requires="p14">
      <p:transition spd="slow" p14:dur="1250">
        <p14:switch dir="r"/>
      </p:transition>
    </mc:Choice>
    <mc:Fallback xmlns="">
      <p:transition spd="slow">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slidemodel2">
    <p:bg>
      <p:bgPr>
        <a:gradFill flip="none" rotWithShape="1">
          <a:gsLst>
            <a:gs pos="55000">
              <a:srgbClr val="1181AE"/>
            </a:gs>
            <a:gs pos="0">
              <a:srgbClr val="1181AE"/>
            </a:gs>
            <a:gs pos="100000">
              <a:srgbClr val="095474"/>
            </a:gs>
          </a:gsLst>
          <a:path path="circle">
            <a:fillToRect l="50000" t="50000" r="50000" b="50000"/>
          </a:path>
          <a:tileRect/>
        </a:gra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218674" y="2870636"/>
            <a:ext cx="5932223" cy="711081"/>
          </a:xfrm>
        </p:spPr>
        <p:txBody>
          <a:bodyPr>
            <a:normAutofit/>
          </a:bodyPr>
          <a:lstStyle>
            <a:lvl1pPr algn="ctr">
              <a:defRPr sz="3600" b="0">
                <a:solidFill>
                  <a:schemeClr val="bg1"/>
                </a:solidFill>
                <a:effectLst>
                  <a:outerShdw blurRad="38100" dist="38100" dir="2700000" algn="tl">
                    <a:srgbClr val="000000">
                      <a:alpha val="43137"/>
                    </a:srgbClr>
                  </a:outerShdw>
                </a:effectLst>
                <a:latin typeface="+mj-lt"/>
                <a:ea typeface="Open Sans" pitchFamily="34" charset="0"/>
                <a:cs typeface="Open Sans" pitchFamily="34" charset="0"/>
              </a:defRPr>
            </a:lvl1pPr>
          </a:lstStyle>
          <a:p>
            <a:r>
              <a:rPr lang="en-US"/>
              <a:t>SlideModel.com</a:t>
            </a:r>
          </a:p>
        </p:txBody>
      </p:sp>
      <p:sp>
        <p:nvSpPr>
          <p:cNvPr id="3" name="Date Placeholder 2"/>
          <p:cNvSpPr>
            <a:spLocks noGrp="1"/>
          </p:cNvSpPr>
          <p:nvPr>
            <p:ph type="dt" sz="half" idx="10"/>
          </p:nvPr>
        </p:nvSpPr>
        <p:spPr/>
        <p:txBody>
          <a:bodyPr/>
          <a:lstStyle/>
          <a:p>
            <a:endParaRPr lang="en-US">
              <a:solidFill>
                <a:prstClr val="black">
                  <a:tint val="75000"/>
                </a:prstClr>
              </a:solidFill>
            </a:endParaRPr>
          </a:p>
        </p:txBody>
      </p:sp>
      <p:sp>
        <p:nvSpPr>
          <p:cNvPr id="4" name="Footer Placeholder 3"/>
          <p:cNvSpPr>
            <a:spLocks noGrp="1"/>
          </p:cNvSpPr>
          <p:nvPr>
            <p:ph type="ftr" sz="quarter" idx="11"/>
          </p:nvPr>
        </p:nvSpPr>
        <p:spPr/>
        <p:txBody>
          <a:bodyPr/>
          <a:lstStyle/>
          <a:p>
            <a:endParaRPr lang="en-US">
              <a:solidFill>
                <a:prstClr val="black">
                  <a:tint val="75000"/>
                </a:prstClr>
              </a:solidFill>
            </a:endParaRPr>
          </a:p>
        </p:txBody>
      </p:sp>
      <p:sp>
        <p:nvSpPr>
          <p:cNvPr id="5" name="Slide Number Placeholder 4"/>
          <p:cNvSpPr>
            <a:spLocks noGrp="1"/>
          </p:cNvSpPr>
          <p:nvPr>
            <p:ph type="sldNum" sz="quarter" idx="12"/>
          </p:nvPr>
        </p:nvSpPr>
        <p:spPr/>
        <p:txBody>
          <a:bodyPr/>
          <a:lstStyle/>
          <a:p>
            <a:fld id="{96E69268-9C8B-4EBF-A9EE-DC5DC2D48DC3}"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076021589"/>
      </p:ext>
    </p:extLst>
  </p:cSld>
  <p:clrMapOvr>
    <a:masterClrMapping/>
  </p:clrMapOvr>
  <mc:AlternateContent xmlns:mc="http://schemas.openxmlformats.org/markup-compatibility/2006" xmlns:p14="http://schemas.microsoft.com/office/powerpoint/2010/main">
    <mc:Choice Requires="p14">
      <p:transition spd="slow" p14:dur="1250">
        <p14:switch dir="r"/>
      </p:transition>
    </mc:Choice>
    <mc:Fallback xmlns="">
      <p:transition spd="slow">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18_Title Slide">
    <p:spTree>
      <p:nvGrpSpPr>
        <p:cNvPr id="1" name=""/>
        <p:cNvGrpSpPr/>
        <p:nvPr/>
      </p:nvGrpSpPr>
      <p:grpSpPr>
        <a:xfrm>
          <a:off x="0" y="0"/>
          <a:ext cx="0" cy="0"/>
          <a:chOff x="0" y="0"/>
          <a:chExt cx="0" cy="0"/>
        </a:xfrm>
      </p:grpSpPr>
      <p:sp>
        <p:nvSpPr>
          <p:cNvPr id="4" name="Picture Placeholder 3"/>
          <p:cNvSpPr>
            <a:spLocks noGrp="1"/>
          </p:cNvSpPr>
          <p:nvPr>
            <p:ph type="pic" sz="quarter" idx="16" hasCustomPrompt="1"/>
          </p:nvPr>
        </p:nvSpPr>
        <p:spPr>
          <a:xfrm>
            <a:off x="-386436" y="1260423"/>
            <a:ext cx="4397255" cy="4336451"/>
          </a:xfrm>
          <a:custGeom>
            <a:avLst/>
            <a:gdLst>
              <a:gd name="connsiteX0" fmla="*/ 1815121 w 7680637"/>
              <a:gd name="connsiteY0" fmla="*/ 575706 h 4910916"/>
              <a:gd name="connsiteX1" fmla="*/ 1958741 w 7680637"/>
              <a:gd name="connsiteY1" fmla="*/ 578860 h 4910916"/>
              <a:gd name="connsiteX2" fmla="*/ 2359375 w 7680637"/>
              <a:gd name="connsiteY2" fmla="*/ 688177 h 4910916"/>
              <a:gd name="connsiteX3" fmla="*/ 2789536 w 7680637"/>
              <a:gd name="connsiteY3" fmla="*/ 948486 h 4910916"/>
              <a:gd name="connsiteX4" fmla="*/ 3102571 w 7680637"/>
              <a:gd name="connsiteY4" fmla="*/ 1217819 h 4910916"/>
              <a:gd name="connsiteX5" fmla="*/ 3332895 w 7680637"/>
              <a:gd name="connsiteY5" fmla="*/ 1453908 h 4910916"/>
              <a:gd name="connsiteX6" fmla="*/ 3547486 w 7680637"/>
              <a:gd name="connsiteY6" fmla="*/ 1699728 h 4910916"/>
              <a:gd name="connsiteX7" fmla="*/ 3559541 w 7680637"/>
              <a:gd name="connsiteY7" fmla="*/ 1711279 h 4910916"/>
              <a:gd name="connsiteX8" fmla="*/ 3594844 w 7680637"/>
              <a:gd name="connsiteY8" fmla="*/ 1754304 h 4910916"/>
              <a:gd name="connsiteX9" fmla="*/ 3608488 w 7680637"/>
              <a:gd name="connsiteY9" fmla="*/ 1774075 h 4910916"/>
              <a:gd name="connsiteX10" fmla="*/ 3859378 w 7680637"/>
              <a:gd name="connsiteY10" fmla="*/ 2104986 h 4910916"/>
              <a:gd name="connsiteX11" fmla="*/ 4127150 w 7680637"/>
              <a:gd name="connsiteY11" fmla="*/ 2531885 h 4910916"/>
              <a:gd name="connsiteX12" fmla="*/ 4318633 w 7680637"/>
              <a:gd name="connsiteY12" fmla="*/ 2969503 h 4910916"/>
              <a:gd name="connsiteX13" fmla="*/ 4397027 w 7680637"/>
              <a:gd name="connsiteY13" fmla="*/ 3404098 h 4910916"/>
              <a:gd name="connsiteX14" fmla="*/ 4225697 w 7680637"/>
              <a:gd name="connsiteY14" fmla="*/ 3994367 h 4910916"/>
              <a:gd name="connsiteX15" fmla="*/ 4062935 w 7680637"/>
              <a:gd name="connsiteY15" fmla="*/ 4183760 h 4910916"/>
              <a:gd name="connsiteX16" fmla="*/ 4026361 w 7680637"/>
              <a:gd name="connsiteY16" fmla="*/ 4222769 h 4910916"/>
              <a:gd name="connsiteX17" fmla="*/ 3960411 w 7680637"/>
              <a:gd name="connsiteY17" fmla="*/ 4276882 h 4910916"/>
              <a:gd name="connsiteX18" fmla="*/ 3930096 w 7680637"/>
              <a:gd name="connsiteY18" fmla="*/ 4294610 h 4910916"/>
              <a:gd name="connsiteX19" fmla="*/ 3581683 w 7680637"/>
              <a:gd name="connsiteY19" fmla="*/ 4498437 h 4910916"/>
              <a:gd name="connsiteX20" fmla="*/ 3065181 w 7680637"/>
              <a:gd name="connsiteY20" fmla="*/ 4687197 h 4910916"/>
              <a:gd name="connsiteX21" fmla="*/ 2281419 w 7680637"/>
              <a:gd name="connsiteY21" fmla="*/ 4850951 h 4910916"/>
              <a:gd name="connsiteX22" fmla="*/ 1509106 w 7680637"/>
              <a:gd name="connsiteY22" fmla="*/ 4910820 h 4910916"/>
              <a:gd name="connsiteX23" fmla="*/ 987175 w 7680637"/>
              <a:gd name="connsiteY23" fmla="*/ 4861062 h 4910916"/>
              <a:gd name="connsiteX24" fmla="*/ 589146 w 7680637"/>
              <a:gd name="connsiteY24" fmla="*/ 4727900 h 4910916"/>
              <a:gd name="connsiteX25" fmla="*/ 309879 w 7680637"/>
              <a:gd name="connsiteY25" fmla="*/ 4528000 h 4910916"/>
              <a:gd name="connsiteX26" fmla="*/ 268865 w 7680637"/>
              <a:gd name="connsiteY26" fmla="*/ 4488072 h 4910916"/>
              <a:gd name="connsiteX27" fmla="*/ 226554 w 7680637"/>
              <a:gd name="connsiteY27" fmla="*/ 4436505 h 4910916"/>
              <a:gd name="connsiteX28" fmla="*/ 218482 w 7680637"/>
              <a:gd name="connsiteY28" fmla="*/ 4421951 h 4910916"/>
              <a:gd name="connsiteX29" fmla="*/ 164739 w 7680637"/>
              <a:gd name="connsiteY29" fmla="*/ 4339798 h 4910916"/>
              <a:gd name="connsiteX30" fmla="*/ 30218 w 7680637"/>
              <a:gd name="connsiteY30" fmla="*/ 3978516 h 4910916"/>
              <a:gd name="connsiteX31" fmla="*/ 6563 w 7680637"/>
              <a:gd name="connsiteY31" fmla="*/ 3481803 h 4910916"/>
              <a:gd name="connsiteX32" fmla="*/ 94549 w 7680637"/>
              <a:gd name="connsiteY32" fmla="*/ 2948010 h 4910916"/>
              <a:gd name="connsiteX33" fmla="*/ 517592 w 7680637"/>
              <a:gd name="connsiteY33" fmla="*/ 1774309 h 4910916"/>
              <a:gd name="connsiteX34" fmla="*/ 854449 w 7680637"/>
              <a:gd name="connsiteY34" fmla="*/ 1197238 h 4910916"/>
              <a:gd name="connsiteX35" fmla="*/ 1142073 w 7680637"/>
              <a:gd name="connsiteY35" fmla="*/ 876277 h 4910916"/>
              <a:gd name="connsiteX36" fmla="*/ 1156923 w 7680637"/>
              <a:gd name="connsiteY36" fmla="*/ 860124 h 4910916"/>
              <a:gd name="connsiteX37" fmla="*/ 1219944 w 7680637"/>
              <a:gd name="connsiteY37" fmla="*/ 808414 h 4910916"/>
              <a:gd name="connsiteX38" fmla="*/ 1243132 w 7680637"/>
              <a:gd name="connsiteY38" fmla="*/ 793623 h 4910916"/>
              <a:gd name="connsiteX39" fmla="*/ 1408343 w 7680637"/>
              <a:gd name="connsiteY39" fmla="*/ 687974 h 4910916"/>
              <a:gd name="connsiteX40" fmla="*/ 1815121 w 7680637"/>
              <a:gd name="connsiteY40" fmla="*/ 575706 h 4910916"/>
              <a:gd name="connsiteX41" fmla="*/ 5284387 w 7680637"/>
              <a:gd name="connsiteY41" fmla="*/ 0 h 4910916"/>
              <a:gd name="connsiteX42" fmla="*/ 7680637 w 7680637"/>
              <a:gd name="connsiteY42" fmla="*/ 0 h 4910916"/>
              <a:gd name="connsiteX43" fmla="*/ 7680637 w 7680637"/>
              <a:gd name="connsiteY43" fmla="*/ 2396248 h 4910916"/>
              <a:gd name="connsiteX44" fmla="*/ 5284387 w 7680637"/>
              <a:gd name="connsiteY44" fmla="*/ 2396248 h 4910916"/>
              <a:gd name="connsiteX0" fmla="*/ 1815121 w 7680637"/>
              <a:gd name="connsiteY0" fmla="*/ 575706 h 4910916"/>
              <a:gd name="connsiteX1" fmla="*/ 1958741 w 7680637"/>
              <a:gd name="connsiteY1" fmla="*/ 578860 h 4910916"/>
              <a:gd name="connsiteX2" fmla="*/ 2359375 w 7680637"/>
              <a:gd name="connsiteY2" fmla="*/ 688177 h 4910916"/>
              <a:gd name="connsiteX3" fmla="*/ 2789536 w 7680637"/>
              <a:gd name="connsiteY3" fmla="*/ 948486 h 4910916"/>
              <a:gd name="connsiteX4" fmla="*/ 3102571 w 7680637"/>
              <a:gd name="connsiteY4" fmla="*/ 1217819 h 4910916"/>
              <a:gd name="connsiteX5" fmla="*/ 3332895 w 7680637"/>
              <a:gd name="connsiteY5" fmla="*/ 1453908 h 4910916"/>
              <a:gd name="connsiteX6" fmla="*/ 3547486 w 7680637"/>
              <a:gd name="connsiteY6" fmla="*/ 1699728 h 4910916"/>
              <a:gd name="connsiteX7" fmla="*/ 3559541 w 7680637"/>
              <a:gd name="connsiteY7" fmla="*/ 1711279 h 4910916"/>
              <a:gd name="connsiteX8" fmla="*/ 3594844 w 7680637"/>
              <a:gd name="connsiteY8" fmla="*/ 1754304 h 4910916"/>
              <a:gd name="connsiteX9" fmla="*/ 3608488 w 7680637"/>
              <a:gd name="connsiteY9" fmla="*/ 1774075 h 4910916"/>
              <a:gd name="connsiteX10" fmla="*/ 3859378 w 7680637"/>
              <a:gd name="connsiteY10" fmla="*/ 2104986 h 4910916"/>
              <a:gd name="connsiteX11" fmla="*/ 4127150 w 7680637"/>
              <a:gd name="connsiteY11" fmla="*/ 2531885 h 4910916"/>
              <a:gd name="connsiteX12" fmla="*/ 4318633 w 7680637"/>
              <a:gd name="connsiteY12" fmla="*/ 2969503 h 4910916"/>
              <a:gd name="connsiteX13" fmla="*/ 4397027 w 7680637"/>
              <a:gd name="connsiteY13" fmla="*/ 3404098 h 4910916"/>
              <a:gd name="connsiteX14" fmla="*/ 4225697 w 7680637"/>
              <a:gd name="connsiteY14" fmla="*/ 3994367 h 4910916"/>
              <a:gd name="connsiteX15" fmla="*/ 4062935 w 7680637"/>
              <a:gd name="connsiteY15" fmla="*/ 4183760 h 4910916"/>
              <a:gd name="connsiteX16" fmla="*/ 4026361 w 7680637"/>
              <a:gd name="connsiteY16" fmla="*/ 4222769 h 4910916"/>
              <a:gd name="connsiteX17" fmla="*/ 3960411 w 7680637"/>
              <a:gd name="connsiteY17" fmla="*/ 4276882 h 4910916"/>
              <a:gd name="connsiteX18" fmla="*/ 3930096 w 7680637"/>
              <a:gd name="connsiteY18" fmla="*/ 4294610 h 4910916"/>
              <a:gd name="connsiteX19" fmla="*/ 3581683 w 7680637"/>
              <a:gd name="connsiteY19" fmla="*/ 4498437 h 4910916"/>
              <a:gd name="connsiteX20" fmla="*/ 3065181 w 7680637"/>
              <a:gd name="connsiteY20" fmla="*/ 4687197 h 4910916"/>
              <a:gd name="connsiteX21" fmla="*/ 2281419 w 7680637"/>
              <a:gd name="connsiteY21" fmla="*/ 4850951 h 4910916"/>
              <a:gd name="connsiteX22" fmla="*/ 1509106 w 7680637"/>
              <a:gd name="connsiteY22" fmla="*/ 4910820 h 4910916"/>
              <a:gd name="connsiteX23" fmla="*/ 987175 w 7680637"/>
              <a:gd name="connsiteY23" fmla="*/ 4861062 h 4910916"/>
              <a:gd name="connsiteX24" fmla="*/ 589146 w 7680637"/>
              <a:gd name="connsiteY24" fmla="*/ 4727900 h 4910916"/>
              <a:gd name="connsiteX25" fmla="*/ 309879 w 7680637"/>
              <a:gd name="connsiteY25" fmla="*/ 4528000 h 4910916"/>
              <a:gd name="connsiteX26" fmla="*/ 268865 w 7680637"/>
              <a:gd name="connsiteY26" fmla="*/ 4488072 h 4910916"/>
              <a:gd name="connsiteX27" fmla="*/ 226554 w 7680637"/>
              <a:gd name="connsiteY27" fmla="*/ 4436505 h 4910916"/>
              <a:gd name="connsiteX28" fmla="*/ 218482 w 7680637"/>
              <a:gd name="connsiteY28" fmla="*/ 4421951 h 4910916"/>
              <a:gd name="connsiteX29" fmla="*/ 164739 w 7680637"/>
              <a:gd name="connsiteY29" fmla="*/ 4339798 h 4910916"/>
              <a:gd name="connsiteX30" fmla="*/ 30218 w 7680637"/>
              <a:gd name="connsiteY30" fmla="*/ 3978516 h 4910916"/>
              <a:gd name="connsiteX31" fmla="*/ 6563 w 7680637"/>
              <a:gd name="connsiteY31" fmla="*/ 3481803 h 4910916"/>
              <a:gd name="connsiteX32" fmla="*/ 94549 w 7680637"/>
              <a:gd name="connsiteY32" fmla="*/ 2948010 h 4910916"/>
              <a:gd name="connsiteX33" fmla="*/ 517592 w 7680637"/>
              <a:gd name="connsiteY33" fmla="*/ 1774309 h 4910916"/>
              <a:gd name="connsiteX34" fmla="*/ 854449 w 7680637"/>
              <a:gd name="connsiteY34" fmla="*/ 1197238 h 4910916"/>
              <a:gd name="connsiteX35" fmla="*/ 1142073 w 7680637"/>
              <a:gd name="connsiteY35" fmla="*/ 876277 h 4910916"/>
              <a:gd name="connsiteX36" fmla="*/ 1156923 w 7680637"/>
              <a:gd name="connsiteY36" fmla="*/ 860124 h 4910916"/>
              <a:gd name="connsiteX37" fmla="*/ 1219944 w 7680637"/>
              <a:gd name="connsiteY37" fmla="*/ 808414 h 4910916"/>
              <a:gd name="connsiteX38" fmla="*/ 1243132 w 7680637"/>
              <a:gd name="connsiteY38" fmla="*/ 793623 h 4910916"/>
              <a:gd name="connsiteX39" fmla="*/ 1408343 w 7680637"/>
              <a:gd name="connsiteY39" fmla="*/ 687974 h 4910916"/>
              <a:gd name="connsiteX40" fmla="*/ 1815121 w 7680637"/>
              <a:gd name="connsiteY40" fmla="*/ 575706 h 4910916"/>
              <a:gd name="connsiteX41" fmla="*/ 5284387 w 7680637"/>
              <a:gd name="connsiteY41" fmla="*/ 2396248 h 4910916"/>
              <a:gd name="connsiteX42" fmla="*/ 7680637 w 7680637"/>
              <a:gd name="connsiteY42" fmla="*/ 0 h 4910916"/>
              <a:gd name="connsiteX43" fmla="*/ 7680637 w 7680637"/>
              <a:gd name="connsiteY43" fmla="*/ 2396248 h 4910916"/>
              <a:gd name="connsiteX44" fmla="*/ 5284387 w 7680637"/>
              <a:gd name="connsiteY44" fmla="*/ 2396248 h 4910916"/>
              <a:gd name="connsiteX0" fmla="*/ 1815121 w 7680637"/>
              <a:gd name="connsiteY0" fmla="*/ 1241 h 4336451"/>
              <a:gd name="connsiteX1" fmla="*/ 1958741 w 7680637"/>
              <a:gd name="connsiteY1" fmla="*/ 4395 h 4336451"/>
              <a:gd name="connsiteX2" fmla="*/ 2359375 w 7680637"/>
              <a:gd name="connsiteY2" fmla="*/ 113712 h 4336451"/>
              <a:gd name="connsiteX3" fmla="*/ 2789536 w 7680637"/>
              <a:gd name="connsiteY3" fmla="*/ 374021 h 4336451"/>
              <a:gd name="connsiteX4" fmla="*/ 3102571 w 7680637"/>
              <a:gd name="connsiteY4" fmla="*/ 643354 h 4336451"/>
              <a:gd name="connsiteX5" fmla="*/ 3332895 w 7680637"/>
              <a:gd name="connsiteY5" fmla="*/ 879443 h 4336451"/>
              <a:gd name="connsiteX6" fmla="*/ 3547486 w 7680637"/>
              <a:gd name="connsiteY6" fmla="*/ 1125263 h 4336451"/>
              <a:gd name="connsiteX7" fmla="*/ 3559541 w 7680637"/>
              <a:gd name="connsiteY7" fmla="*/ 1136814 h 4336451"/>
              <a:gd name="connsiteX8" fmla="*/ 3594844 w 7680637"/>
              <a:gd name="connsiteY8" fmla="*/ 1179839 h 4336451"/>
              <a:gd name="connsiteX9" fmla="*/ 3608488 w 7680637"/>
              <a:gd name="connsiteY9" fmla="*/ 1199610 h 4336451"/>
              <a:gd name="connsiteX10" fmla="*/ 3859378 w 7680637"/>
              <a:gd name="connsiteY10" fmla="*/ 1530521 h 4336451"/>
              <a:gd name="connsiteX11" fmla="*/ 4127150 w 7680637"/>
              <a:gd name="connsiteY11" fmla="*/ 1957420 h 4336451"/>
              <a:gd name="connsiteX12" fmla="*/ 4318633 w 7680637"/>
              <a:gd name="connsiteY12" fmla="*/ 2395038 h 4336451"/>
              <a:gd name="connsiteX13" fmla="*/ 4397027 w 7680637"/>
              <a:gd name="connsiteY13" fmla="*/ 2829633 h 4336451"/>
              <a:gd name="connsiteX14" fmla="*/ 4225697 w 7680637"/>
              <a:gd name="connsiteY14" fmla="*/ 3419902 h 4336451"/>
              <a:gd name="connsiteX15" fmla="*/ 4062935 w 7680637"/>
              <a:gd name="connsiteY15" fmla="*/ 3609295 h 4336451"/>
              <a:gd name="connsiteX16" fmla="*/ 4026361 w 7680637"/>
              <a:gd name="connsiteY16" fmla="*/ 3648304 h 4336451"/>
              <a:gd name="connsiteX17" fmla="*/ 3960411 w 7680637"/>
              <a:gd name="connsiteY17" fmla="*/ 3702417 h 4336451"/>
              <a:gd name="connsiteX18" fmla="*/ 3930096 w 7680637"/>
              <a:gd name="connsiteY18" fmla="*/ 3720145 h 4336451"/>
              <a:gd name="connsiteX19" fmla="*/ 3581683 w 7680637"/>
              <a:gd name="connsiteY19" fmla="*/ 3923972 h 4336451"/>
              <a:gd name="connsiteX20" fmla="*/ 3065181 w 7680637"/>
              <a:gd name="connsiteY20" fmla="*/ 4112732 h 4336451"/>
              <a:gd name="connsiteX21" fmla="*/ 2281419 w 7680637"/>
              <a:gd name="connsiteY21" fmla="*/ 4276486 h 4336451"/>
              <a:gd name="connsiteX22" fmla="*/ 1509106 w 7680637"/>
              <a:gd name="connsiteY22" fmla="*/ 4336355 h 4336451"/>
              <a:gd name="connsiteX23" fmla="*/ 987175 w 7680637"/>
              <a:gd name="connsiteY23" fmla="*/ 4286597 h 4336451"/>
              <a:gd name="connsiteX24" fmla="*/ 589146 w 7680637"/>
              <a:gd name="connsiteY24" fmla="*/ 4153435 h 4336451"/>
              <a:gd name="connsiteX25" fmla="*/ 309879 w 7680637"/>
              <a:gd name="connsiteY25" fmla="*/ 3953535 h 4336451"/>
              <a:gd name="connsiteX26" fmla="*/ 268865 w 7680637"/>
              <a:gd name="connsiteY26" fmla="*/ 3913607 h 4336451"/>
              <a:gd name="connsiteX27" fmla="*/ 226554 w 7680637"/>
              <a:gd name="connsiteY27" fmla="*/ 3862040 h 4336451"/>
              <a:gd name="connsiteX28" fmla="*/ 218482 w 7680637"/>
              <a:gd name="connsiteY28" fmla="*/ 3847486 h 4336451"/>
              <a:gd name="connsiteX29" fmla="*/ 164739 w 7680637"/>
              <a:gd name="connsiteY29" fmla="*/ 3765333 h 4336451"/>
              <a:gd name="connsiteX30" fmla="*/ 30218 w 7680637"/>
              <a:gd name="connsiteY30" fmla="*/ 3404051 h 4336451"/>
              <a:gd name="connsiteX31" fmla="*/ 6563 w 7680637"/>
              <a:gd name="connsiteY31" fmla="*/ 2907338 h 4336451"/>
              <a:gd name="connsiteX32" fmla="*/ 94549 w 7680637"/>
              <a:gd name="connsiteY32" fmla="*/ 2373545 h 4336451"/>
              <a:gd name="connsiteX33" fmla="*/ 517592 w 7680637"/>
              <a:gd name="connsiteY33" fmla="*/ 1199844 h 4336451"/>
              <a:gd name="connsiteX34" fmla="*/ 854449 w 7680637"/>
              <a:gd name="connsiteY34" fmla="*/ 622773 h 4336451"/>
              <a:gd name="connsiteX35" fmla="*/ 1142073 w 7680637"/>
              <a:gd name="connsiteY35" fmla="*/ 301812 h 4336451"/>
              <a:gd name="connsiteX36" fmla="*/ 1156923 w 7680637"/>
              <a:gd name="connsiteY36" fmla="*/ 285659 h 4336451"/>
              <a:gd name="connsiteX37" fmla="*/ 1219944 w 7680637"/>
              <a:gd name="connsiteY37" fmla="*/ 233949 h 4336451"/>
              <a:gd name="connsiteX38" fmla="*/ 1243132 w 7680637"/>
              <a:gd name="connsiteY38" fmla="*/ 219158 h 4336451"/>
              <a:gd name="connsiteX39" fmla="*/ 1408343 w 7680637"/>
              <a:gd name="connsiteY39" fmla="*/ 113509 h 4336451"/>
              <a:gd name="connsiteX40" fmla="*/ 1815121 w 7680637"/>
              <a:gd name="connsiteY40" fmla="*/ 1241 h 4336451"/>
              <a:gd name="connsiteX41" fmla="*/ 5284387 w 7680637"/>
              <a:gd name="connsiteY41" fmla="*/ 1821783 h 4336451"/>
              <a:gd name="connsiteX42" fmla="*/ 7680637 w 7680637"/>
              <a:gd name="connsiteY42" fmla="*/ 1821783 h 4336451"/>
              <a:gd name="connsiteX43" fmla="*/ 5284387 w 7680637"/>
              <a:gd name="connsiteY43" fmla="*/ 1821783 h 4336451"/>
              <a:gd name="connsiteX0" fmla="*/ 1815121 w 4397254"/>
              <a:gd name="connsiteY0" fmla="*/ 1241 h 4336451"/>
              <a:gd name="connsiteX1" fmla="*/ 1958741 w 4397254"/>
              <a:gd name="connsiteY1" fmla="*/ 4395 h 4336451"/>
              <a:gd name="connsiteX2" fmla="*/ 2359375 w 4397254"/>
              <a:gd name="connsiteY2" fmla="*/ 113712 h 4336451"/>
              <a:gd name="connsiteX3" fmla="*/ 2789536 w 4397254"/>
              <a:gd name="connsiteY3" fmla="*/ 374021 h 4336451"/>
              <a:gd name="connsiteX4" fmla="*/ 3102571 w 4397254"/>
              <a:gd name="connsiteY4" fmla="*/ 643354 h 4336451"/>
              <a:gd name="connsiteX5" fmla="*/ 3332895 w 4397254"/>
              <a:gd name="connsiteY5" fmla="*/ 879443 h 4336451"/>
              <a:gd name="connsiteX6" fmla="*/ 3547486 w 4397254"/>
              <a:gd name="connsiteY6" fmla="*/ 1125263 h 4336451"/>
              <a:gd name="connsiteX7" fmla="*/ 3559541 w 4397254"/>
              <a:gd name="connsiteY7" fmla="*/ 1136814 h 4336451"/>
              <a:gd name="connsiteX8" fmla="*/ 3594844 w 4397254"/>
              <a:gd name="connsiteY8" fmla="*/ 1179839 h 4336451"/>
              <a:gd name="connsiteX9" fmla="*/ 3608488 w 4397254"/>
              <a:gd name="connsiteY9" fmla="*/ 1199610 h 4336451"/>
              <a:gd name="connsiteX10" fmla="*/ 3859378 w 4397254"/>
              <a:gd name="connsiteY10" fmla="*/ 1530521 h 4336451"/>
              <a:gd name="connsiteX11" fmla="*/ 4127150 w 4397254"/>
              <a:gd name="connsiteY11" fmla="*/ 1957420 h 4336451"/>
              <a:gd name="connsiteX12" fmla="*/ 4318633 w 4397254"/>
              <a:gd name="connsiteY12" fmla="*/ 2395038 h 4336451"/>
              <a:gd name="connsiteX13" fmla="*/ 4397027 w 4397254"/>
              <a:gd name="connsiteY13" fmla="*/ 2829633 h 4336451"/>
              <a:gd name="connsiteX14" fmla="*/ 4225697 w 4397254"/>
              <a:gd name="connsiteY14" fmla="*/ 3419902 h 4336451"/>
              <a:gd name="connsiteX15" fmla="*/ 4062935 w 4397254"/>
              <a:gd name="connsiteY15" fmla="*/ 3609295 h 4336451"/>
              <a:gd name="connsiteX16" fmla="*/ 4026361 w 4397254"/>
              <a:gd name="connsiteY16" fmla="*/ 3648304 h 4336451"/>
              <a:gd name="connsiteX17" fmla="*/ 3960411 w 4397254"/>
              <a:gd name="connsiteY17" fmla="*/ 3702417 h 4336451"/>
              <a:gd name="connsiteX18" fmla="*/ 3930096 w 4397254"/>
              <a:gd name="connsiteY18" fmla="*/ 3720145 h 4336451"/>
              <a:gd name="connsiteX19" fmla="*/ 3581683 w 4397254"/>
              <a:gd name="connsiteY19" fmla="*/ 3923972 h 4336451"/>
              <a:gd name="connsiteX20" fmla="*/ 3065181 w 4397254"/>
              <a:gd name="connsiteY20" fmla="*/ 4112732 h 4336451"/>
              <a:gd name="connsiteX21" fmla="*/ 2281419 w 4397254"/>
              <a:gd name="connsiteY21" fmla="*/ 4276486 h 4336451"/>
              <a:gd name="connsiteX22" fmla="*/ 1509106 w 4397254"/>
              <a:gd name="connsiteY22" fmla="*/ 4336355 h 4336451"/>
              <a:gd name="connsiteX23" fmla="*/ 987175 w 4397254"/>
              <a:gd name="connsiteY23" fmla="*/ 4286597 h 4336451"/>
              <a:gd name="connsiteX24" fmla="*/ 589146 w 4397254"/>
              <a:gd name="connsiteY24" fmla="*/ 4153435 h 4336451"/>
              <a:gd name="connsiteX25" fmla="*/ 309879 w 4397254"/>
              <a:gd name="connsiteY25" fmla="*/ 3953535 h 4336451"/>
              <a:gd name="connsiteX26" fmla="*/ 268865 w 4397254"/>
              <a:gd name="connsiteY26" fmla="*/ 3913607 h 4336451"/>
              <a:gd name="connsiteX27" fmla="*/ 226554 w 4397254"/>
              <a:gd name="connsiteY27" fmla="*/ 3862040 h 4336451"/>
              <a:gd name="connsiteX28" fmla="*/ 218482 w 4397254"/>
              <a:gd name="connsiteY28" fmla="*/ 3847486 h 4336451"/>
              <a:gd name="connsiteX29" fmla="*/ 164739 w 4397254"/>
              <a:gd name="connsiteY29" fmla="*/ 3765333 h 4336451"/>
              <a:gd name="connsiteX30" fmla="*/ 30218 w 4397254"/>
              <a:gd name="connsiteY30" fmla="*/ 3404051 h 4336451"/>
              <a:gd name="connsiteX31" fmla="*/ 6563 w 4397254"/>
              <a:gd name="connsiteY31" fmla="*/ 2907338 h 4336451"/>
              <a:gd name="connsiteX32" fmla="*/ 94549 w 4397254"/>
              <a:gd name="connsiteY32" fmla="*/ 2373545 h 4336451"/>
              <a:gd name="connsiteX33" fmla="*/ 517592 w 4397254"/>
              <a:gd name="connsiteY33" fmla="*/ 1199844 h 4336451"/>
              <a:gd name="connsiteX34" fmla="*/ 854449 w 4397254"/>
              <a:gd name="connsiteY34" fmla="*/ 622773 h 4336451"/>
              <a:gd name="connsiteX35" fmla="*/ 1142073 w 4397254"/>
              <a:gd name="connsiteY35" fmla="*/ 301812 h 4336451"/>
              <a:gd name="connsiteX36" fmla="*/ 1156923 w 4397254"/>
              <a:gd name="connsiteY36" fmla="*/ 285659 h 4336451"/>
              <a:gd name="connsiteX37" fmla="*/ 1219944 w 4397254"/>
              <a:gd name="connsiteY37" fmla="*/ 233949 h 4336451"/>
              <a:gd name="connsiteX38" fmla="*/ 1243132 w 4397254"/>
              <a:gd name="connsiteY38" fmla="*/ 219158 h 4336451"/>
              <a:gd name="connsiteX39" fmla="*/ 1408343 w 4397254"/>
              <a:gd name="connsiteY39" fmla="*/ 113509 h 4336451"/>
              <a:gd name="connsiteX40" fmla="*/ 1815121 w 4397254"/>
              <a:gd name="connsiteY40" fmla="*/ 1241 h 43364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4397254" h="4336451">
                <a:moveTo>
                  <a:pt x="1815121" y="1241"/>
                </a:moveTo>
                <a:cubicBezTo>
                  <a:pt x="1862318" y="-1137"/>
                  <a:pt x="1910189" y="-102"/>
                  <a:pt x="1958741" y="4395"/>
                </a:cubicBezTo>
                <a:cubicBezTo>
                  <a:pt x="2098628" y="17457"/>
                  <a:pt x="2231379" y="57015"/>
                  <a:pt x="2359375" y="113712"/>
                </a:cubicBezTo>
                <a:cubicBezTo>
                  <a:pt x="2513869" y="182282"/>
                  <a:pt x="2655218" y="272222"/>
                  <a:pt x="2789536" y="374021"/>
                </a:cubicBezTo>
                <a:cubicBezTo>
                  <a:pt x="2899333" y="457559"/>
                  <a:pt x="3002950" y="548021"/>
                  <a:pt x="3102571" y="643354"/>
                </a:cubicBezTo>
                <a:cubicBezTo>
                  <a:pt x="3182202" y="719351"/>
                  <a:pt x="3259630" y="797689"/>
                  <a:pt x="3332895" y="879443"/>
                </a:cubicBezTo>
                <a:cubicBezTo>
                  <a:pt x="3405797" y="960434"/>
                  <a:pt x="3476103" y="1043291"/>
                  <a:pt x="3547486" y="1125263"/>
                </a:cubicBezTo>
                <a:cubicBezTo>
                  <a:pt x="3551145" y="1129408"/>
                  <a:pt x="3555574" y="1132922"/>
                  <a:pt x="3559541" y="1136814"/>
                </a:cubicBezTo>
                <a:lnTo>
                  <a:pt x="3594844" y="1179839"/>
                </a:lnTo>
                <a:cubicBezTo>
                  <a:pt x="3599444" y="1186387"/>
                  <a:pt x="3603581" y="1193315"/>
                  <a:pt x="3608488" y="1199610"/>
                </a:cubicBezTo>
                <a:cubicBezTo>
                  <a:pt x="3695148" y="1307428"/>
                  <a:pt x="3779473" y="1417425"/>
                  <a:pt x="3859378" y="1530521"/>
                </a:cubicBezTo>
                <a:cubicBezTo>
                  <a:pt x="3956253" y="1668069"/>
                  <a:pt x="4046908" y="1809665"/>
                  <a:pt x="4127150" y="1957420"/>
                </a:cubicBezTo>
                <a:cubicBezTo>
                  <a:pt x="4203278" y="2097963"/>
                  <a:pt x="4269448" y="2242711"/>
                  <a:pt x="4318633" y="2395038"/>
                </a:cubicBezTo>
                <a:cubicBezTo>
                  <a:pt x="4364176" y="2536327"/>
                  <a:pt x="4394000" y="2680458"/>
                  <a:pt x="4397027" y="2829633"/>
                </a:cubicBezTo>
                <a:cubicBezTo>
                  <a:pt x="4401223" y="3044022"/>
                  <a:pt x="4347375" y="3241718"/>
                  <a:pt x="4225697" y="3419902"/>
                </a:cubicBezTo>
                <a:cubicBezTo>
                  <a:pt x="4178523" y="3489045"/>
                  <a:pt x="4123864" y="3551893"/>
                  <a:pt x="4062935" y="3609295"/>
                </a:cubicBezTo>
                <a:cubicBezTo>
                  <a:pt x="4050000" y="3621498"/>
                  <a:pt x="4038518" y="3635153"/>
                  <a:pt x="4026361" y="3648304"/>
                </a:cubicBezTo>
                <a:lnTo>
                  <a:pt x="3960411" y="3702417"/>
                </a:lnTo>
                <a:cubicBezTo>
                  <a:pt x="3950306" y="3708327"/>
                  <a:pt x="3939576" y="3713159"/>
                  <a:pt x="3930096" y="3720145"/>
                </a:cubicBezTo>
                <a:cubicBezTo>
                  <a:pt x="3821235" y="3800204"/>
                  <a:pt x="3704076" y="3866689"/>
                  <a:pt x="3581683" y="3923972"/>
                </a:cubicBezTo>
                <a:cubicBezTo>
                  <a:pt x="3415114" y="4001885"/>
                  <a:pt x="3241981" y="4062685"/>
                  <a:pt x="3065181" y="4112732"/>
                </a:cubicBezTo>
                <a:cubicBezTo>
                  <a:pt x="2807878" y="4185956"/>
                  <a:pt x="2545972" y="4237546"/>
                  <a:pt x="2281419" y="4276486"/>
                </a:cubicBezTo>
                <a:cubicBezTo>
                  <a:pt x="2025295" y="4314067"/>
                  <a:pt x="1768171" y="4338178"/>
                  <a:pt x="1509106" y="4336355"/>
                </a:cubicBezTo>
                <a:cubicBezTo>
                  <a:pt x="1333688" y="4334979"/>
                  <a:pt x="1159288" y="4321650"/>
                  <a:pt x="987175" y="4286597"/>
                </a:cubicBezTo>
                <a:cubicBezTo>
                  <a:pt x="848988" y="4258642"/>
                  <a:pt x="715269" y="4216963"/>
                  <a:pt x="589146" y="4153435"/>
                </a:cubicBezTo>
                <a:cubicBezTo>
                  <a:pt x="485705" y="4101209"/>
                  <a:pt x="391685" y="4035954"/>
                  <a:pt x="309879" y="3953535"/>
                </a:cubicBezTo>
                <a:cubicBezTo>
                  <a:pt x="296422" y="3939962"/>
                  <a:pt x="282631" y="3926927"/>
                  <a:pt x="268865" y="3913607"/>
                </a:cubicBezTo>
                <a:lnTo>
                  <a:pt x="226554" y="3862040"/>
                </a:lnTo>
                <a:cubicBezTo>
                  <a:pt x="223819" y="3857134"/>
                  <a:pt x="221677" y="3852011"/>
                  <a:pt x="218482" y="3847486"/>
                </a:cubicBezTo>
                <a:cubicBezTo>
                  <a:pt x="200618" y="3820062"/>
                  <a:pt x="181393" y="3793486"/>
                  <a:pt x="164739" y="3765333"/>
                </a:cubicBezTo>
                <a:cubicBezTo>
                  <a:pt x="97787" y="3653256"/>
                  <a:pt x="55417" y="3531860"/>
                  <a:pt x="30218" y="3404051"/>
                </a:cubicBezTo>
                <a:cubicBezTo>
                  <a:pt x="-2189" y="3239807"/>
                  <a:pt x="-5794" y="3073902"/>
                  <a:pt x="6563" y="2907338"/>
                </a:cubicBezTo>
                <a:cubicBezTo>
                  <a:pt x="19827" y="2726795"/>
                  <a:pt x="51054" y="2548982"/>
                  <a:pt x="94549" y="2373545"/>
                </a:cubicBezTo>
                <a:cubicBezTo>
                  <a:pt x="194967" y="1967715"/>
                  <a:pt x="339184" y="1577558"/>
                  <a:pt x="517592" y="1199844"/>
                </a:cubicBezTo>
                <a:cubicBezTo>
                  <a:pt x="613094" y="997614"/>
                  <a:pt x="722388" y="803389"/>
                  <a:pt x="854449" y="622773"/>
                </a:cubicBezTo>
                <a:cubicBezTo>
                  <a:pt x="939492" y="506147"/>
                  <a:pt x="1031609" y="395627"/>
                  <a:pt x="1142073" y="301812"/>
                </a:cubicBezTo>
                <a:cubicBezTo>
                  <a:pt x="1147644" y="296975"/>
                  <a:pt x="1152023" y="291001"/>
                  <a:pt x="1156923" y="285659"/>
                </a:cubicBezTo>
                <a:lnTo>
                  <a:pt x="1219944" y="233949"/>
                </a:lnTo>
                <a:cubicBezTo>
                  <a:pt x="1227812" y="229081"/>
                  <a:pt x="1236043" y="224975"/>
                  <a:pt x="1243132" y="219158"/>
                </a:cubicBezTo>
                <a:cubicBezTo>
                  <a:pt x="1294110" y="177594"/>
                  <a:pt x="1350030" y="143622"/>
                  <a:pt x="1408343" y="113509"/>
                </a:cubicBezTo>
                <a:cubicBezTo>
                  <a:pt x="1538001" y="46229"/>
                  <a:pt x="1673529" y="8376"/>
                  <a:pt x="1815121" y="1241"/>
                </a:cubicBezTo>
                <a:close/>
              </a:path>
            </a:pathLst>
          </a:custGeom>
          <a:pattFill prst="pct10">
            <a:fgClr>
              <a:schemeClr val="tx1"/>
            </a:fgClr>
            <a:bgClr>
              <a:schemeClr val="bg1"/>
            </a:bgClr>
          </a:pattFill>
        </p:spPr>
        <p:txBody>
          <a:bodyPr wrap="square" anchor="ctr">
            <a:noAutofit/>
          </a:bodyPr>
          <a:lstStyle>
            <a:lvl1pPr algn="ctr">
              <a:defRPr sz="1600" b="0" i="0">
                <a:latin typeface="Titillium" charset="0"/>
                <a:ea typeface="Titillium" charset="0"/>
                <a:cs typeface="Titillium" charset="0"/>
              </a:defRPr>
            </a:lvl1pPr>
          </a:lstStyle>
          <a:p>
            <a:r>
              <a:rPr lang="en-US" dirty="0"/>
              <a:t>Insert Image</a:t>
            </a:r>
          </a:p>
        </p:txBody>
      </p:sp>
      <p:sp>
        <p:nvSpPr>
          <p:cNvPr id="3" name="Title 1">
            <a:extLst>
              <a:ext uri="{FF2B5EF4-FFF2-40B4-BE49-F238E27FC236}">
                <a16:creationId xmlns:a16="http://schemas.microsoft.com/office/drawing/2014/main" id="{96C377F9-FA26-4D7D-8C15-5737D0343826}"/>
              </a:ext>
            </a:extLst>
          </p:cNvPr>
          <p:cNvSpPr>
            <a:spLocks noGrp="1"/>
          </p:cNvSpPr>
          <p:nvPr>
            <p:ph type="title"/>
          </p:nvPr>
        </p:nvSpPr>
        <p:spPr>
          <a:xfrm>
            <a:off x="4296227" y="230316"/>
            <a:ext cx="7665776" cy="584775"/>
          </a:xfrm>
        </p:spPr>
        <p:txBody>
          <a:bodyPr>
            <a:spAutoFit/>
          </a:bodyPr>
          <a:lstStyle>
            <a:lvl1pPr>
              <a:defRPr lang="en-GB" dirty="0">
                <a:latin typeface="Open Sans" panose="020B0606030504020204" pitchFamily="34" charset="0"/>
                <a:ea typeface="Open Sans" panose="020B0606030504020204" pitchFamily="34" charset="0"/>
                <a:cs typeface="Open Sans" panose="020B0606030504020204" pitchFamily="34" charset="0"/>
              </a:defRPr>
            </a:lvl1pPr>
          </a:lstStyle>
          <a:p>
            <a:pPr lvl="0"/>
            <a:r>
              <a:rPr lang="en-US" dirty="0"/>
              <a:t>Click to edit Master title style</a:t>
            </a:r>
            <a:endParaRPr lang="en-GB" dirty="0"/>
          </a:p>
        </p:txBody>
      </p:sp>
      <p:sp>
        <p:nvSpPr>
          <p:cNvPr id="6" name="Text Placeholder 5">
            <a:extLst>
              <a:ext uri="{FF2B5EF4-FFF2-40B4-BE49-F238E27FC236}">
                <a16:creationId xmlns:a16="http://schemas.microsoft.com/office/drawing/2014/main" id="{8DEAE418-52E2-4DE7-A31D-BA3FF67BE6A9}"/>
              </a:ext>
            </a:extLst>
          </p:cNvPr>
          <p:cNvSpPr>
            <a:spLocks noGrp="1"/>
          </p:cNvSpPr>
          <p:nvPr>
            <p:ph type="body" sz="quarter" idx="17"/>
          </p:nvPr>
        </p:nvSpPr>
        <p:spPr>
          <a:xfrm>
            <a:off x="4296227" y="843419"/>
            <a:ext cx="7665776" cy="246221"/>
          </a:xfrm>
        </p:spPr>
        <p:txBody>
          <a:bodyPr lIns="90000"/>
          <a:lstStyle>
            <a:lvl1pPr>
              <a:defRPr>
                <a:solidFill>
                  <a:schemeClr val="tx1"/>
                </a:solidFill>
              </a:defRPr>
            </a:lvl1pPr>
          </a:lstStyle>
          <a:p>
            <a:pPr lvl="0"/>
            <a:r>
              <a:rPr lang="en-US" dirty="0"/>
              <a:t>Edit Master text styles</a:t>
            </a:r>
          </a:p>
        </p:txBody>
      </p:sp>
    </p:spTree>
    <p:extLst>
      <p:ext uri="{BB962C8B-B14F-4D97-AF65-F5344CB8AC3E}">
        <p14:creationId xmlns:p14="http://schemas.microsoft.com/office/powerpoint/2010/main" val="3981764900"/>
      </p:ext>
    </p:extLst>
  </p:cSld>
  <p:clrMapOvr>
    <a:masterClrMapping/>
  </p:clrMapOvr>
  <p:extLst>
    <p:ext uri="{DCECCB84-F9BA-43D5-87BE-67443E8EF086}">
      <p15:sldGuideLst xmlns:p15="http://schemas.microsoft.com/office/powerpoint/2012/main">
        <p15:guide id="1" orient="horz" pos="2160">
          <p15:clr>
            <a:srgbClr val="FBAE40"/>
          </p15:clr>
        </p15:guide>
        <p15:guide id="2" pos="5120">
          <p15:clr>
            <a:srgbClr val="FBAE40"/>
          </p15:clr>
        </p15:guide>
        <p15:guide id="3" pos="1504">
          <p15:clr>
            <a:srgbClr val="FBAE40"/>
          </p15:clr>
        </p15:guide>
        <p15:guide id="4" pos="8736">
          <p15:clr>
            <a:srgbClr val="FBAE40"/>
          </p15:clr>
        </p15:guide>
        <p15:guide id="5" orient="horz" pos="480">
          <p15:clr>
            <a:srgbClr val="FBAE40"/>
          </p15:clr>
        </p15:guide>
        <p15:guide id="6" orient="horz" pos="3840">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27_Title Slide">
    <p:spTree>
      <p:nvGrpSpPr>
        <p:cNvPr id="1" name=""/>
        <p:cNvGrpSpPr/>
        <p:nvPr/>
      </p:nvGrpSpPr>
      <p:grpSpPr>
        <a:xfrm>
          <a:off x="0" y="0"/>
          <a:ext cx="0" cy="0"/>
          <a:chOff x="0" y="0"/>
          <a:chExt cx="0" cy="0"/>
        </a:xfrm>
      </p:grpSpPr>
      <p:sp>
        <p:nvSpPr>
          <p:cNvPr id="7" name="Picture Placeholder 3">
            <a:extLst>
              <a:ext uri="{FF2B5EF4-FFF2-40B4-BE49-F238E27FC236}">
                <a16:creationId xmlns:a16="http://schemas.microsoft.com/office/drawing/2014/main" id="{2755FD07-32D4-4A25-A7A2-13926211B760}"/>
              </a:ext>
            </a:extLst>
          </p:cNvPr>
          <p:cNvSpPr>
            <a:spLocks noGrp="1"/>
          </p:cNvSpPr>
          <p:nvPr>
            <p:ph type="pic" sz="quarter" idx="16" hasCustomPrompt="1"/>
          </p:nvPr>
        </p:nvSpPr>
        <p:spPr>
          <a:xfrm>
            <a:off x="0" y="1"/>
            <a:ext cx="12192000" cy="3187700"/>
          </a:xfrm>
          <a:prstGeom prst="rect">
            <a:avLst/>
          </a:prstGeom>
          <a:solidFill>
            <a:schemeClr val="bg1">
              <a:lumMod val="85000"/>
            </a:schemeClr>
          </a:solidFill>
        </p:spPr>
        <p:txBody>
          <a:bodyPr wrap="square" anchor="ctr">
            <a:noAutofit/>
          </a:bodyPr>
          <a:lstStyle>
            <a:lvl1pPr algn="ctr">
              <a:defRPr sz="1600" b="0" i="0">
                <a:latin typeface="Titillium" charset="0"/>
                <a:ea typeface="Titillium" charset="0"/>
                <a:cs typeface="Titillium" charset="0"/>
              </a:defRPr>
            </a:lvl1pPr>
          </a:lstStyle>
          <a:p>
            <a:r>
              <a:rPr lang="en-US" dirty="0"/>
              <a:t>Insert Image</a:t>
            </a:r>
          </a:p>
        </p:txBody>
      </p:sp>
      <p:sp>
        <p:nvSpPr>
          <p:cNvPr id="6" name="Title 1">
            <a:extLst>
              <a:ext uri="{FF2B5EF4-FFF2-40B4-BE49-F238E27FC236}">
                <a16:creationId xmlns:a16="http://schemas.microsoft.com/office/drawing/2014/main" id="{51F7B841-B016-4EA6-B35A-56DF9234E7A6}"/>
              </a:ext>
            </a:extLst>
          </p:cNvPr>
          <p:cNvSpPr>
            <a:spLocks noGrp="1"/>
          </p:cNvSpPr>
          <p:nvPr>
            <p:ph type="title"/>
          </p:nvPr>
        </p:nvSpPr>
        <p:spPr>
          <a:xfrm>
            <a:off x="723900" y="230316"/>
            <a:ext cx="10820400" cy="584775"/>
          </a:xfrm>
        </p:spPr>
        <p:txBody>
          <a:bodyPr>
            <a:spAutoFit/>
          </a:bodyPr>
          <a:lstStyle>
            <a:lvl1pPr>
              <a:defRPr lang="en-GB" dirty="0">
                <a:latin typeface="Open Sans" panose="020B0606030504020204" pitchFamily="34" charset="0"/>
                <a:ea typeface="Open Sans" panose="020B0606030504020204" pitchFamily="34" charset="0"/>
                <a:cs typeface="Open Sans" panose="020B0606030504020204" pitchFamily="34" charset="0"/>
              </a:defRPr>
            </a:lvl1pPr>
          </a:lstStyle>
          <a:p>
            <a:pPr lvl="0"/>
            <a:r>
              <a:rPr lang="en-US" dirty="0"/>
              <a:t>Click to edit Master title style</a:t>
            </a:r>
            <a:endParaRPr lang="en-GB" dirty="0"/>
          </a:p>
        </p:txBody>
      </p:sp>
      <p:sp>
        <p:nvSpPr>
          <p:cNvPr id="8" name="Text Placeholder 5">
            <a:extLst>
              <a:ext uri="{FF2B5EF4-FFF2-40B4-BE49-F238E27FC236}">
                <a16:creationId xmlns:a16="http://schemas.microsoft.com/office/drawing/2014/main" id="{4E848E19-DAF4-49BB-B133-74C5F04FFF33}"/>
              </a:ext>
            </a:extLst>
          </p:cNvPr>
          <p:cNvSpPr>
            <a:spLocks noGrp="1"/>
          </p:cNvSpPr>
          <p:nvPr>
            <p:ph type="body" sz="quarter" idx="17"/>
          </p:nvPr>
        </p:nvSpPr>
        <p:spPr>
          <a:xfrm>
            <a:off x="723901" y="843419"/>
            <a:ext cx="10820400" cy="246221"/>
          </a:xfrm>
        </p:spPr>
        <p:txBody>
          <a:bodyPr lIns="90000"/>
          <a:lstStyle>
            <a:lvl1pPr>
              <a:defRPr>
                <a:solidFill>
                  <a:schemeClr val="tx1"/>
                </a:solidFill>
              </a:defRPr>
            </a:lvl1pPr>
          </a:lstStyle>
          <a:p>
            <a:pPr lvl="0"/>
            <a:r>
              <a:rPr lang="en-US" dirty="0"/>
              <a:t>Edit Master text styles</a:t>
            </a:r>
          </a:p>
        </p:txBody>
      </p:sp>
    </p:spTree>
    <p:extLst>
      <p:ext uri="{BB962C8B-B14F-4D97-AF65-F5344CB8AC3E}">
        <p14:creationId xmlns:p14="http://schemas.microsoft.com/office/powerpoint/2010/main" val="1937523540"/>
      </p:ext>
    </p:extLst>
  </p:cSld>
  <p:clrMapOvr>
    <a:masterClrMapping/>
  </p:clrMapOvr>
  <p:extLst>
    <p:ext uri="{DCECCB84-F9BA-43D5-87BE-67443E8EF086}">
      <p15:sldGuideLst xmlns:p15="http://schemas.microsoft.com/office/powerpoint/2012/main">
        <p15:guide id="1" orient="horz" pos="2160">
          <p15:clr>
            <a:srgbClr val="FBAE40"/>
          </p15:clr>
        </p15:guide>
        <p15:guide id="2" pos="5120">
          <p15:clr>
            <a:srgbClr val="FBAE40"/>
          </p15:clr>
        </p15:guide>
        <p15:guide id="3" pos="1504">
          <p15:clr>
            <a:srgbClr val="FBAE40"/>
          </p15:clr>
        </p15:guide>
        <p15:guide id="4" pos="8736">
          <p15:clr>
            <a:srgbClr val="FBAE40"/>
          </p15:clr>
        </p15:guide>
        <p15:guide id="5" orient="horz" pos="480">
          <p15:clr>
            <a:srgbClr val="FBAE40"/>
          </p15:clr>
        </p15:guide>
        <p15:guide id="6" orient="horz" pos="3840">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461595287"/>
              </p:ext>
            </p:extLst>
          </p:nvPr>
        </p:nvGraphicFramePr>
        <p:xfrm>
          <a:off x="1589" y="1635"/>
          <a:ext cx="1587" cy="1587"/>
        </p:xfrm>
        <a:graphic>
          <a:graphicData uri="http://schemas.openxmlformats.org/presentationml/2006/ole">
            <mc:AlternateContent xmlns:mc="http://schemas.openxmlformats.org/markup-compatibility/2006">
              <mc:Choice xmlns:v="urn:schemas-microsoft-com:vml" Requires="v">
                <p:oleObj spid="_x0000_s3483" name="think-cell Slide" r:id="rId4" imgW="347" imgH="346" progId="TCLayout.ActiveDocument.1">
                  <p:embed/>
                </p:oleObj>
              </mc:Choice>
              <mc:Fallback>
                <p:oleObj name="think-cell Slide" r:id="rId4" imgW="347" imgH="346" progId="TCLayout.ActiveDocument.1">
                  <p:embed/>
                  <p:pic>
                    <p:nvPicPr>
                      <p:cNvPr id="3" name="Object 2" hidden="1"/>
                      <p:cNvPicPr/>
                      <p:nvPr/>
                    </p:nvPicPr>
                    <p:blipFill>
                      <a:blip r:embed="rId5"/>
                      <a:stretch>
                        <a:fillRect/>
                      </a:stretch>
                    </p:blipFill>
                    <p:spPr>
                      <a:xfrm>
                        <a:off x="1589" y="1635"/>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lvl1pPr>
              <a:defRPr lang="en-US" sz="3200" b="1" kern="0" baseline="0" noProof="0" dirty="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stStyle>
          <a:p>
            <a:r>
              <a:rPr lang="en-US" dirty="0"/>
              <a:t>Click to edit Master title style</a:t>
            </a:r>
            <a:endParaRPr lang="en-GB" dirty="0"/>
          </a:p>
        </p:txBody>
      </p:sp>
      <p:sp>
        <p:nvSpPr>
          <p:cNvPr id="7" name="Text Placeholder 5">
            <a:extLst>
              <a:ext uri="{FF2B5EF4-FFF2-40B4-BE49-F238E27FC236}">
                <a16:creationId xmlns:a16="http://schemas.microsoft.com/office/drawing/2014/main" id="{502DCD3E-688B-4163-B796-566F5536398E}"/>
              </a:ext>
            </a:extLst>
          </p:cNvPr>
          <p:cNvSpPr>
            <a:spLocks noGrp="1"/>
          </p:cNvSpPr>
          <p:nvPr>
            <p:ph type="body" sz="quarter" idx="17"/>
          </p:nvPr>
        </p:nvSpPr>
        <p:spPr>
          <a:xfrm>
            <a:off x="723901" y="843419"/>
            <a:ext cx="10820400" cy="246221"/>
          </a:xfrm>
        </p:spPr>
        <p:txBody>
          <a:bodyPr lIns="90000"/>
          <a:lstStyle>
            <a:lvl1pPr>
              <a:defRPr>
                <a:solidFill>
                  <a:schemeClr val="tx1"/>
                </a:solidFill>
              </a:defRPr>
            </a:lvl1pPr>
          </a:lstStyle>
          <a:p>
            <a:pPr lvl="0"/>
            <a:r>
              <a:rPr lang="en-US" dirty="0"/>
              <a:t>Edit Master text styles</a:t>
            </a:r>
          </a:p>
        </p:txBody>
      </p:sp>
    </p:spTree>
    <p:extLst>
      <p:ext uri="{BB962C8B-B14F-4D97-AF65-F5344CB8AC3E}">
        <p14:creationId xmlns:p14="http://schemas.microsoft.com/office/powerpoint/2010/main" val="64728543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2_Title Slide">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BAB6AC99-4036-4871-B44A-163F75919769}"/>
              </a:ext>
            </a:extLst>
          </p:cNvPr>
          <p:cNvSpPr>
            <a:spLocks noGrp="1"/>
          </p:cNvSpPr>
          <p:nvPr>
            <p:ph type="title"/>
          </p:nvPr>
        </p:nvSpPr>
        <p:spPr>
          <a:xfrm>
            <a:off x="723942" y="230315"/>
            <a:ext cx="5219700" cy="584775"/>
          </a:xfrm>
        </p:spPr>
        <p:txBody>
          <a:bodyPr>
            <a:spAutoFit/>
          </a:bodyPr>
          <a:lstStyle>
            <a:lvl1pPr>
              <a:defRPr lang="en-GB" dirty="0">
                <a:latin typeface="Open Sans" panose="020B0606030504020204" pitchFamily="34" charset="0"/>
                <a:ea typeface="Open Sans" panose="020B0606030504020204" pitchFamily="34" charset="0"/>
                <a:cs typeface="Open Sans" panose="020B0606030504020204" pitchFamily="34" charset="0"/>
              </a:defRPr>
            </a:lvl1pPr>
          </a:lstStyle>
          <a:p>
            <a:pPr lvl="0"/>
            <a:r>
              <a:rPr lang="en-US" dirty="0"/>
              <a:t>Click to edit Master title style</a:t>
            </a:r>
            <a:endParaRPr lang="en-GB" dirty="0"/>
          </a:p>
        </p:txBody>
      </p:sp>
      <p:sp>
        <p:nvSpPr>
          <p:cNvPr id="9" name="Text Placeholder 5">
            <a:extLst>
              <a:ext uri="{FF2B5EF4-FFF2-40B4-BE49-F238E27FC236}">
                <a16:creationId xmlns:a16="http://schemas.microsoft.com/office/drawing/2014/main" id="{8806BEB1-554E-441B-8143-1262D1DD2187}"/>
              </a:ext>
            </a:extLst>
          </p:cNvPr>
          <p:cNvSpPr>
            <a:spLocks noGrp="1"/>
          </p:cNvSpPr>
          <p:nvPr>
            <p:ph type="body" sz="quarter" idx="17"/>
          </p:nvPr>
        </p:nvSpPr>
        <p:spPr>
          <a:xfrm>
            <a:off x="723901" y="843419"/>
            <a:ext cx="5219699" cy="246221"/>
          </a:xfrm>
        </p:spPr>
        <p:txBody>
          <a:bodyPr lIns="90000"/>
          <a:lstStyle>
            <a:lvl1pPr>
              <a:defRPr>
                <a:solidFill>
                  <a:schemeClr val="tx1"/>
                </a:solidFill>
              </a:defRPr>
            </a:lvl1pPr>
          </a:lstStyle>
          <a:p>
            <a:pPr lvl="0"/>
            <a:r>
              <a:rPr lang="en-US" dirty="0"/>
              <a:t>Edit Master text styles</a:t>
            </a:r>
          </a:p>
        </p:txBody>
      </p:sp>
      <p:sp>
        <p:nvSpPr>
          <p:cNvPr id="5" name="Picture Placeholder 5">
            <a:extLst>
              <a:ext uri="{FF2B5EF4-FFF2-40B4-BE49-F238E27FC236}">
                <a16:creationId xmlns:a16="http://schemas.microsoft.com/office/drawing/2014/main" id="{0A28A75D-08F0-4C74-9485-2A3A830F979B}"/>
              </a:ext>
            </a:extLst>
          </p:cNvPr>
          <p:cNvSpPr>
            <a:spLocks noGrp="1"/>
          </p:cNvSpPr>
          <p:nvPr>
            <p:ph type="pic" sz="quarter" idx="13" hasCustomPrompt="1"/>
          </p:nvPr>
        </p:nvSpPr>
        <p:spPr bwMode="auto">
          <a:xfrm>
            <a:off x="4639371" y="-21085"/>
            <a:ext cx="7552668" cy="6879085"/>
          </a:xfrm>
          <a:custGeom>
            <a:avLst/>
            <a:gdLst>
              <a:gd name="connsiteX0" fmla="*/ 2971144 w 8527206"/>
              <a:gd name="connsiteY0" fmla="*/ 0 h 6858000"/>
              <a:gd name="connsiteX1" fmla="*/ 7752484 w 8527206"/>
              <a:gd name="connsiteY1" fmla="*/ 0 h 6858000"/>
              <a:gd name="connsiteX2" fmla="*/ 7863964 w 8527206"/>
              <a:gd name="connsiteY2" fmla="*/ 173070 h 6858000"/>
              <a:gd name="connsiteX3" fmla="*/ 8367759 w 8527206"/>
              <a:gd name="connsiteY3" fmla="*/ 1196300 h 6858000"/>
              <a:gd name="connsiteX4" fmla="*/ 8527206 w 8527206"/>
              <a:gd name="connsiteY4" fmla="*/ 1631659 h 6858000"/>
              <a:gd name="connsiteX5" fmla="*/ 8527206 w 8527206"/>
              <a:gd name="connsiteY5" fmla="*/ 6858000 h 6858000"/>
              <a:gd name="connsiteX6" fmla="*/ 1968306 w 8527206"/>
              <a:gd name="connsiteY6" fmla="*/ 6858000 h 6858000"/>
              <a:gd name="connsiteX7" fmla="*/ 1963205 w 8527206"/>
              <a:gd name="connsiteY7" fmla="*/ 6855630 h 6858000"/>
              <a:gd name="connsiteX8" fmla="*/ 1098144 w 8527206"/>
              <a:gd name="connsiteY8" fmla="*/ 6340068 h 6858000"/>
              <a:gd name="connsiteX9" fmla="*/ 430707 w 8527206"/>
              <a:gd name="connsiteY9" fmla="*/ 5690993 h 6858000"/>
              <a:gd name="connsiteX10" fmla="*/ 561 w 8527206"/>
              <a:gd name="connsiteY10" fmla="*/ 4468699 h 6858000"/>
              <a:gd name="connsiteX11" fmla="*/ 47377 w 8527206"/>
              <a:gd name="connsiteY11" fmla="*/ 3944319 h 6858000"/>
              <a:gd name="connsiteX12" fmla="*/ 62248 w 8527206"/>
              <a:gd name="connsiteY12" fmla="*/ 3832572 h 6858000"/>
              <a:gd name="connsiteX13" fmla="*/ 108969 w 8527206"/>
              <a:gd name="connsiteY13" fmla="*/ 3658898 h 6858000"/>
              <a:gd name="connsiteX14" fmla="*/ 139210 w 8527206"/>
              <a:gd name="connsiteY14" fmla="*/ 3591318 h 6858000"/>
              <a:gd name="connsiteX15" fmla="*/ 486668 w 8527206"/>
              <a:gd name="connsiteY15" fmla="*/ 2814496 h 6858000"/>
              <a:gd name="connsiteX16" fmla="*/ 1140836 w 8527206"/>
              <a:gd name="connsiteY16" fmla="*/ 1857357 h 6858000"/>
              <a:gd name="connsiteX17" fmla="*/ 2283959 w 8527206"/>
              <a:gd name="connsiteY17" fmla="*/ 615316 h 6858000"/>
              <a:gd name="connsiteX18" fmla="*/ 2889393 w 8527206"/>
              <a:gd name="connsiteY18" fmla="*/ 66398 h 6858000"/>
              <a:gd name="connsiteX0" fmla="*/ 2971144 w 8548017"/>
              <a:gd name="connsiteY0" fmla="*/ 0 h 6858000"/>
              <a:gd name="connsiteX1" fmla="*/ 7752484 w 8548017"/>
              <a:gd name="connsiteY1" fmla="*/ 0 h 6858000"/>
              <a:gd name="connsiteX2" fmla="*/ 7863964 w 8548017"/>
              <a:gd name="connsiteY2" fmla="*/ 173070 h 6858000"/>
              <a:gd name="connsiteX3" fmla="*/ 8548017 w 8548017"/>
              <a:gd name="connsiteY3" fmla="*/ 1036643 h 6858000"/>
              <a:gd name="connsiteX4" fmla="*/ 8527206 w 8548017"/>
              <a:gd name="connsiteY4" fmla="*/ 1631659 h 6858000"/>
              <a:gd name="connsiteX5" fmla="*/ 8527206 w 8548017"/>
              <a:gd name="connsiteY5" fmla="*/ 6858000 h 6858000"/>
              <a:gd name="connsiteX6" fmla="*/ 1968306 w 8548017"/>
              <a:gd name="connsiteY6" fmla="*/ 6858000 h 6858000"/>
              <a:gd name="connsiteX7" fmla="*/ 1963205 w 8548017"/>
              <a:gd name="connsiteY7" fmla="*/ 6855630 h 6858000"/>
              <a:gd name="connsiteX8" fmla="*/ 1098144 w 8548017"/>
              <a:gd name="connsiteY8" fmla="*/ 6340068 h 6858000"/>
              <a:gd name="connsiteX9" fmla="*/ 430707 w 8548017"/>
              <a:gd name="connsiteY9" fmla="*/ 5690993 h 6858000"/>
              <a:gd name="connsiteX10" fmla="*/ 561 w 8548017"/>
              <a:gd name="connsiteY10" fmla="*/ 4468699 h 6858000"/>
              <a:gd name="connsiteX11" fmla="*/ 47377 w 8548017"/>
              <a:gd name="connsiteY11" fmla="*/ 3944319 h 6858000"/>
              <a:gd name="connsiteX12" fmla="*/ 62248 w 8548017"/>
              <a:gd name="connsiteY12" fmla="*/ 3832572 h 6858000"/>
              <a:gd name="connsiteX13" fmla="*/ 108969 w 8548017"/>
              <a:gd name="connsiteY13" fmla="*/ 3658898 h 6858000"/>
              <a:gd name="connsiteX14" fmla="*/ 139210 w 8548017"/>
              <a:gd name="connsiteY14" fmla="*/ 3591318 h 6858000"/>
              <a:gd name="connsiteX15" fmla="*/ 486668 w 8548017"/>
              <a:gd name="connsiteY15" fmla="*/ 2814496 h 6858000"/>
              <a:gd name="connsiteX16" fmla="*/ 1140836 w 8548017"/>
              <a:gd name="connsiteY16" fmla="*/ 1857357 h 6858000"/>
              <a:gd name="connsiteX17" fmla="*/ 2283959 w 8548017"/>
              <a:gd name="connsiteY17" fmla="*/ 615316 h 6858000"/>
              <a:gd name="connsiteX18" fmla="*/ 2889393 w 8548017"/>
              <a:gd name="connsiteY18" fmla="*/ 66398 h 6858000"/>
              <a:gd name="connsiteX19" fmla="*/ 2971144 w 8548017"/>
              <a:gd name="connsiteY19" fmla="*/ 0 h 6858000"/>
              <a:gd name="connsiteX0" fmla="*/ 2971144 w 8548017"/>
              <a:gd name="connsiteY0" fmla="*/ 73672 h 6931672"/>
              <a:gd name="connsiteX1" fmla="*/ 7752484 w 8548017"/>
              <a:gd name="connsiteY1" fmla="*/ 73672 h 6931672"/>
              <a:gd name="connsiteX2" fmla="*/ 8453900 w 8548017"/>
              <a:gd name="connsiteY2" fmla="*/ 0 h 6931672"/>
              <a:gd name="connsiteX3" fmla="*/ 8548017 w 8548017"/>
              <a:gd name="connsiteY3" fmla="*/ 1110315 h 6931672"/>
              <a:gd name="connsiteX4" fmla="*/ 8527206 w 8548017"/>
              <a:gd name="connsiteY4" fmla="*/ 1705331 h 6931672"/>
              <a:gd name="connsiteX5" fmla="*/ 8527206 w 8548017"/>
              <a:gd name="connsiteY5" fmla="*/ 6931672 h 6931672"/>
              <a:gd name="connsiteX6" fmla="*/ 1968306 w 8548017"/>
              <a:gd name="connsiteY6" fmla="*/ 6931672 h 6931672"/>
              <a:gd name="connsiteX7" fmla="*/ 1963205 w 8548017"/>
              <a:gd name="connsiteY7" fmla="*/ 6929302 h 6931672"/>
              <a:gd name="connsiteX8" fmla="*/ 1098144 w 8548017"/>
              <a:gd name="connsiteY8" fmla="*/ 6413740 h 6931672"/>
              <a:gd name="connsiteX9" fmla="*/ 430707 w 8548017"/>
              <a:gd name="connsiteY9" fmla="*/ 5764665 h 6931672"/>
              <a:gd name="connsiteX10" fmla="*/ 561 w 8548017"/>
              <a:gd name="connsiteY10" fmla="*/ 4542371 h 6931672"/>
              <a:gd name="connsiteX11" fmla="*/ 47377 w 8548017"/>
              <a:gd name="connsiteY11" fmla="*/ 4017991 h 6931672"/>
              <a:gd name="connsiteX12" fmla="*/ 62248 w 8548017"/>
              <a:gd name="connsiteY12" fmla="*/ 3906244 h 6931672"/>
              <a:gd name="connsiteX13" fmla="*/ 108969 w 8548017"/>
              <a:gd name="connsiteY13" fmla="*/ 3732570 h 6931672"/>
              <a:gd name="connsiteX14" fmla="*/ 139210 w 8548017"/>
              <a:gd name="connsiteY14" fmla="*/ 3664990 h 6931672"/>
              <a:gd name="connsiteX15" fmla="*/ 486668 w 8548017"/>
              <a:gd name="connsiteY15" fmla="*/ 2888168 h 6931672"/>
              <a:gd name="connsiteX16" fmla="*/ 1140836 w 8548017"/>
              <a:gd name="connsiteY16" fmla="*/ 1931029 h 6931672"/>
              <a:gd name="connsiteX17" fmla="*/ 2283959 w 8548017"/>
              <a:gd name="connsiteY17" fmla="*/ 688988 h 6931672"/>
              <a:gd name="connsiteX18" fmla="*/ 2889393 w 8548017"/>
              <a:gd name="connsiteY18" fmla="*/ 140070 h 6931672"/>
              <a:gd name="connsiteX19" fmla="*/ 2971144 w 8548017"/>
              <a:gd name="connsiteY19" fmla="*/ 73672 h 6931672"/>
              <a:gd name="connsiteX0" fmla="*/ 2971144 w 8548017"/>
              <a:gd name="connsiteY0" fmla="*/ 73672 h 6931672"/>
              <a:gd name="connsiteX1" fmla="*/ 7752484 w 8548017"/>
              <a:gd name="connsiteY1" fmla="*/ 73672 h 6931672"/>
              <a:gd name="connsiteX2" fmla="*/ 8453900 w 8548017"/>
              <a:gd name="connsiteY2" fmla="*/ 0 h 6931672"/>
              <a:gd name="connsiteX3" fmla="*/ 8548017 w 8548017"/>
              <a:gd name="connsiteY3" fmla="*/ 1110315 h 6931672"/>
              <a:gd name="connsiteX4" fmla="*/ 8527206 w 8548017"/>
              <a:gd name="connsiteY4" fmla="*/ 1705331 h 6931672"/>
              <a:gd name="connsiteX5" fmla="*/ 8527206 w 8548017"/>
              <a:gd name="connsiteY5" fmla="*/ 6931672 h 6931672"/>
              <a:gd name="connsiteX6" fmla="*/ 1968306 w 8548017"/>
              <a:gd name="connsiteY6" fmla="*/ 6931672 h 6931672"/>
              <a:gd name="connsiteX7" fmla="*/ 1963205 w 8548017"/>
              <a:gd name="connsiteY7" fmla="*/ 6929302 h 6931672"/>
              <a:gd name="connsiteX8" fmla="*/ 1098144 w 8548017"/>
              <a:gd name="connsiteY8" fmla="*/ 6413740 h 6931672"/>
              <a:gd name="connsiteX9" fmla="*/ 430707 w 8548017"/>
              <a:gd name="connsiteY9" fmla="*/ 5764665 h 6931672"/>
              <a:gd name="connsiteX10" fmla="*/ 561 w 8548017"/>
              <a:gd name="connsiteY10" fmla="*/ 4542371 h 6931672"/>
              <a:gd name="connsiteX11" fmla="*/ 47377 w 8548017"/>
              <a:gd name="connsiteY11" fmla="*/ 4017991 h 6931672"/>
              <a:gd name="connsiteX12" fmla="*/ 62248 w 8548017"/>
              <a:gd name="connsiteY12" fmla="*/ 3906244 h 6931672"/>
              <a:gd name="connsiteX13" fmla="*/ 108969 w 8548017"/>
              <a:gd name="connsiteY13" fmla="*/ 3732570 h 6931672"/>
              <a:gd name="connsiteX14" fmla="*/ 139210 w 8548017"/>
              <a:gd name="connsiteY14" fmla="*/ 3664990 h 6931672"/>
              <a:gd name="connsiteX15" fmla="*/ 486668 w 8548017"/>
              <a:gd name="connsiteY15" fmla="*/ 2888168 h 6931672"/>
              <a:gd name="connsiteX16" fmla="*/ 1140836 w 8548017"/>
              <a:gd name="connsiteY16" fmla="*/ 1931029 h 6931672"/>
              <a:gd name="connsiteX17" fmla="*/ 2283959 w 8548017"/>
              <a:gd name="connsiteY17" fmla="*/ 688988 h 6931672"/>
              <a:gd name="connsiteX18" fmla="*/ 2889393 w 8548017"/>
              <a:gd name="connsiteY18" fmla="*/ 140070 h 6931672"/>
              <a:gd name="connsiteX19" fmla="*/ 2971144 w 8548017"/>
              <a:gd name="connsiteY19" fmla="*/ 73672 h 6931672"/>
              <a:gd name="connsiteX0" fmla="*/ 2971144 w 8601798"/>
              <a:gd name="connsiteY0" fmla="*/ 1101 h 6859101"/>
              <a:gd name="connsiteX1" fmla="*/ 7752484 w 8601798"/>
              <a:gd name="connsiteY1" fmla="*/ 1101 h 6859101"/>
              <a:gd name="connsiteX2" fmla="*/ 8535835 w 8601798"/>
              <a:gd name="connsiteY2" fmla="*/ 0 h 6859101"/>
              <a:gd name="connsiteX3" fmla="*/ 8548017 w 8601798"/>
              <a:gd name="connsiteY3" fmla="*/ 1037744 h 6859101"/>
              <a:gd name="connsiteX4" fmla="*/ 8527206 w 8601798"/>
              <a:gd name="connsiteY4" fmla="*/ 1632760 h 6859101"/>
              <a:gd name="connsiteX5" fmla="*/ 8527206 w 8601798"/>
              <a:gd name="connsiteY5" fmla="*/ 6859101 h 6859101"/>
              <a:gd name="connsiteX6" fmla="*/ 1968306 w 8601798"/>
              <a:gd name="connsiteY6" fmla="*/ 6859101 h 6859101"/>
              <a:gd name="connsiteX7" fmla="*/ 1963205 w 8601798"/>
              <a:gd name="connsiteY7" fmla="*/ 6856731 h 6859101"/>
              <a:gd name="connsiteX8" fmla="*/ 1098144 w 8601798"/>
              <a:gd name="connsiteY8" fmla="*/ 6341169 h 6859101"/>
              <a:gd name="connsiteX9" fmla="*/ 430707 w 8601798"/>
              <a:gd name="connsiteY9" fmla="*/ 5692094 h 6859101"/>
              <a:gd name="connsiteX10" fmla="*/ 561 w 8601798"/>
              <a:gd name="connsiteY10" fmla="*/ 4469800 h 6859101"/>
              <a:gd name="connsiteX11" fmla="*/ 47377 w 8601798"/>
              <a:gd name="connsiteY11" fmla="*/ 3945420 h 6859101"/>
              <a:gd name="connsiteX12" fmla="*/ 62248 w 8601798"/>
              <a:gd name="connsiteY12" fmla="*/ 3833673 h 6859101"/>
              <a:gd name="connsiteX13" fmla="*/ 108969 w 8601798"/>
              <a:gd name="connsiteY13" fmla="*/ 3659999 h 6859101"/>
              <a:gd name="connsiteX14" fmla="*/ 139210 w 8601798"/>
              <a:gd name="connsiteY14" fmla="*/ 3592419 h 6859101"/>
              <a:gd name="connsiteX15" fmla="*/ 486668 w 8601798"/>
              <a:gd name="connsiteY15" fmla="*/ 2815597 h 6859101"/>
              <a:gd name="connsiteX16" fmla="*/ 1140836 w 8601798"/>
              <a:gd name="connsiteY16" fmla="*/ 1858458 h 6859101"/>
              <a:gd name="connsiteX17" fmla="*/ 2283959 w 8601798"/>
              <a:gd name="connsiteY17" fmla="*/ 616417 h 6859101"/>
              <a:gd name="connsiteX18" fmla="*/ 2889393 w 8601798"/>
              <a:gd name="connsiteY18" fmla="*/ 67499 h 6859101"/>
              <a:gd name="connsiteX19" fmla="*/ 2971144 w 8601798"/>
              <a:gd name="connsiteY19" fmla="*/ 1101 h 6859101"/>
              <a:gd name="connsiteX0" fmla="*/ 2971144 w 8875759"/>
              <a:gd name="connsiteY0" fmla="*/ 1101 h 6859101"/>
              <a:gd name="connsiteX1" fmla="*/ 7752484 w 8875759"/>
              <a:gd name="connsiteY1" fmla="*/ 1101 h 6859101"/>
              <a:gd name="connsiteX2" fmla="*/ 8535835 w 8875759"/>
              <a:gd name="connsiteY2" fmla="*/ 0 h 6859101"/>
              <a:gd name="connsiteX3" fmla="*/ 8875759 w 8875759"/>
              <a:gd name="connsiteY3" fmla="*/ 1139344 h 6859101"/>
              <a:gd name="connsiteX4" fmla="*/ 8527206 w 8875759"/>
              <a:gd name="connsiteY4" fmla="*/ 1632760 h 6859101"/>
              <a:gd name="connsiteX5" fmla="*/ 8527206 w 8875759"/>
              <a:gd name="connsiteY5" fmla="*/ 6859101 h 6859101"/>
              <a:gd name="connsiteX6" fmla="*/ 1968306 w 8875759"/>
              <a:gd name="connsiteY6" fmla="*/ 6859101 h 6859101"/>
              <a:gd name="connsiteX7" fmla="*/ 1963205 w 8875759"/>
              <a:gd name="connsiteY7" fmla="*/ 6856731 h 6859101"/>
              <a:gd name="connsiteX8" fmla="*/ 1098144 w 8875759"/>
              <a:gd name="connsiteY8" fmla="*/ 6341169 h 6859101"/>
              <a:gd name="connsiteX9" fmla="*/ 430707 w 8875759"/>
              <a:gd name="connsiteY9" fmla="*/ 5692094 h 6859101"/>
              <a:gd name="connsiteX10" fmla="*/ 561 w 8875759"/>
              <a:gd name="connsiteY10" fmla="*/ 4469800 h 6859101"/>
              <a:gd name="connsiteX11" fmla="*/ 47377 w 8875759"/>
              <a:gd name="connsiteY11" fmla="*/ 3945420 h 6859101"/>
              <a:gd name="connsiteX12" fmla="*/ 62248 w 8875759"/>
              <a:gd name="connsiteY12" fmla="*/ 3833673 h 6859101"/>
              <a:gd name="connsiteX13" fmla="*/ 108969 w 8875759"/>
              <a:gd name="connsiteY13" fmla="*/ 3659999 h 6859101"/>
              <a:gd name="connsiteX14" fmla="*/ 139210 w 8875759"/>
              <a:gd name="connsiteY14" fmla="*/ 3592419 h 6859101"/>
              <a:gd name="connsiteX15" fmla="*/ 486668 w 8875759"/>
              <a:gd name="connsiteY15" fmla="*/ 2815597 h 6859101"/>
              <a:gd name="connsiteX16" fmla="*/ 1140836 w 8875759"/>
              <a:gd name="connsiteY16" fmla="*/ 1858458 h 6859101"/>
              <a:gd name="connsiteX17" fmla="*/ 2283959 w 8875759"/>
              <a:gd name="connsiteY17" fmla="*/ 616417 h 6859101"/>
              <a:gd name="connsiteX18" fmla="*/ 2889393 w 8875759"/>
              <a:gd name="connsiteY18" fmla="*/ 67499 h 6859101"/>
              <a:gd name="connsiteX19" fmla="*/ 2971144 w 8875759"/>
              <a:gd name="connsiteY19" fmla="*/ 1101 h 6859101"/>
              <a:gd name="connsiteX0" fmla="*/ 2971144 w 8875759"/>
              <a:gd name="connsiteY0" fmla="*/ 0 h 6858000"/>
              <a:gd name="connsiteX1" fmla="*/ 7752484 w 8875759"/>
              <a:gd name="connsiteY1" fmla="*/ 0 h 6858000"/>
              <a:gd name="connsiteX2" fmla="*/ 8781642 w 8875759"/>
              <a:gd name="connsiteY2" fmla="*/ 85984 h 6858000"/>
              <a:gd name="connsiteX3" fmla="*/ 8875759 w 8875759"/>
              <a:gd name="connsiteY3" fmla="*/ 1138243 h 6858000"/>
              <a:gd name="connsiteX4" fmla="*/ 8527206 w 8875759"/>
              <a:gd name="connsiteY4" fmla="*/ 1631659 h 6858000"/>
              <a:gd name="connsiteX5" fmla="*/ 8527206 w 8875759"/>
              <a:gd name="connsiteY5" fmla="*/ 6858000 h 6858000"/>
              <a:gd name="connsiteX6" fmla="*/ 1968306 w 8875759"/>
              <a:gd name="connsiteY6" fmla="*/ 6858000 h 6858000"/>
              <a:gd name="connsiteX7" fmla="*/ 1963205 w 8875759"/>
              <a:gd name="connsiteY7" fmla="*/ 6855630 h 6858000"/>
              <a:gd name="connsiteX8" fmla="*/ 1098144 w 8875759"/>
              <a:gd name="connsiteY8" fmla="*/ 6340068 h 6858000"/>
              <a:gd name="connsiteX9" fmla="*/ 430707 w 8875759"/>
              <a:gd name="connsiteY9" fmla="*/ 5690993 h 6858000"/>
              <a:gd name="connsiteX10" fmla="*/ 561 w 8875759"/>
              <a:gd name="connsiteY10" fmla="*/ 4468699 h 6858000"/>
              <a:gd name="connsiteX11" fmla="*/ 47377 w 8875759"/>
              <a:gd name="connsiteY11" fmla="*/ 3944319 h 6858000"/>
              <a:gd name="connsiteX12" fmla="*/ 62248 w 8875759"/>
              <a:gd name="connsiteY12" fmla="*/ 3832572 h 6858000"/>
              <a:gd name="connsiteX13" fmla="*/ 108969 w 8875759"/>
              <a:gd name="connsiteY13" fmla="*/ 3658898 h 6858000"/>
              <a:gd name="connsiteX14" fmla="*/ 139210 w 8875759"/>
              <a:gd name="connsiteY14" fmla="*/ 3591318 h 6858000"/>
              <a:gd name="connsiteX15" fmla="*/ 486668 w 8875759"/>
              <a:gd name="connsiteY15" fmla="*/ 2814496 h 6858000"/>
              <a:gd name="connsiteX16" fmla="*/ 1140836 w 8875759"/>
              <a:gd name="connsiteY16" fmla="*/ 1857357 h 6858000"/>
              <a:gd name="connsiteX17" fmla="*/ 2283959 w 8875759"/>
              <a:gd name="connsiteY17" fmla="*/ 615316 h 6858000"/>
              <a:gd name="connsiteX18" fmla="*/ 2889393 w 8875759"/>
              <a:gd name="connsiteY18" fmla="*/ 66398 h 6858000"/>
              <a:gd name="connsiteX19" fmla="*/ 2971144 w 8875759"/>
              <a:gd name="connsiteY19" fmla="*/ 0 h 6858000"/>
              <a:gd name="connsiteX0" fmla="*/ 2971144 w 8943533"/>
              <a:gd name="connsiteY0" fmla="*/ 1101 h 6859101"/>
              <a:gd name="connsiteX1" fmla="*/ 7752484 w 8943533"/>
              <a:gd name="connsiteY1" fmla="*/ 1101 h 6859101"/>
              <a:gd name="connsiteX2" fmla="*/ 8879965 w 8943533"/>
              <a:gd name="connsiteY2" fmla="*/ 0 h 6859101"/>
              <a:gd name="connsiteX3" fmla="*/ 8875759 w 8943533"/>
              <a:gd name="connsiteY3" fmla="*/ 1139344 h 6859101"/>
              <a:gd name="connsiteX4" fmla="*/ 8527206 w 8943533"/>
              <a:gd name="connsiteY4" fmla="*/ 1632760 h 6859101"/>
              <a:gd name="connsiteX5" fmla="*/ 8527206 w 8943533"/>
              <a:gd name="connsiteY5" fmla="*/ 6859101 h 6859101"/>
              <a:gd name="connsiteX6" fmla="*/ 1968306 w 8943533"/>
              <a:gd name="connsiteY6" fmla="*/ 6859101 h 6859101"/>
              <a:gd name="connsiteX7" fmla="*/ 1963205 w 8943533"/>
              <a:gd name="connsiteY7" fmla="*/ 6856731 h 6859101"/>
              <a:gd name="connsiteX8" fmla="*/ 1098144 w 8943533"/>
              <a:gd name="connsiteY8" fmla="*/ 6341169 h 6859101"/>
              <a:gd name="connsiteX9" fmla="*/ 430707 w 8943533"/>
              <a:gd name="connsiteY9" fmla="*/ 5692094 h 6859101"/>
              <a:gd name="connsiteX10" fmla="*/ 561 w 8943533"/>
              <a:gd name="connsiteY10" fmla="*/ 4469800 h 6859101"/>
              <a:gd name="connsiteX11" fmla="*/ 47377 w 8943533"/>
              <a:gd name="connsiteY11" fmla="*/ 3945420 h 6859101"/>
              <a:gd name="connsiteX12" fmla="*/ 62248 w 8943533"/>
              <a:gd name="connsiteY12" fmla="*/ 3833673 h 6859101"/>
              <a:gd name="connsiteX13" fmla="*/ 108969 w 8943533"/>
              <a:gd name="connsiteY13" fmla="*/ 3659999 h 6859101"/>
              <a:gd name="connsiteX14" fmla="*/ 139210 w 8943533"/>
              <a:gd name="connsiteY14" fmla="*/ 3592419 h 6859101"/>
              <a:gd name="connsiteX15" fmla="*/ 486668 w 8943533"/>
              <a:gd name="connsiteY15" fmla="*/ 2815597 h 6859101"/>
              <a:gd name="connsiteX16" fmla="*/ 1140836 w 8943533"/>
              <a:gd name="connsiteY16" fmla="*/ 1858458 h 6859101"/>
              <a:gd name="connsiteX17" fmla="*/ 2283959 w 8943533"/>
              <a:gd name="connsiteY17" fmla="*/ 616417 h 6859101"/>
              <a:gd name="connsiteX18" fmla="*/ 2889393 w 8943533"/>
              <a:gd name="connsiteY18" fmla="*/ 67499 h 6859101"/>
              <a:gd name="connsiteX19" fmla="*/ 2971144 w 8943533"/>
              <a:gd name="connsiteY19" fmla="*/ 1101 h 6859101"/>
              <a:gd name="connsiteX0" fmla="*/ 2971144 w 8914877"/>
              <a:gd name="connsiteY0" fmla="*/ 1101 h 6859101"/>
              <a:gd name="connsiteX1" fmla="*/ 7752484 w 8914877"/>
              <a:gd name="connsiteY1" fmla="*/ 1101 h 6859101"/>
              <a:gd name="connsiteX2" fmla="*/ 8879965 w 8914877"/>
              <a:gd name="connsiteY2" fmla="*/ 0 h 6859101"/>
              <a:gd name="connsiteX3" fmla="*/ 8498857 w 8914877"/>
              <a:gd name="connsiteY3" fmla="*/ 616830 h 6859101"/>
              <a:gd name="connsiteX4" fmla="*/ 8527206 w 8914877"/>
              <a:gd name="connsiteY4" fmla="*/ 1632760 h 6859101"/>
              <a:gd name="connsiteX5" fmla="*/ 8527206 w 8914877"/>
              <a:gd name="connsiteY5" fmla="*/ 6859101 h 6859101"/>
              <a:gd name="connsiteX6" fmla="*/ 1968306 w 8914877"/>
              <a:gd name="connsiteY6" fmla="*/ 6859101 h 6859101"/>
              <a:gd name="connsiteX7" fmla="*/ 1963205 w 8914877"/>
              <a:gd name="connsiteY7" fmla="*/ 6856731 h 6859101"/>
              <a:gd name="connsiteX8" fmla="*/ 1098144 w 8914877"/>
              <a:gd name="connsiteY8" fmla="*/ 6341169 h 6859101"/>
              <a:gd name="connsiteX9" fmla="*/ 430707 w 8914877"/>
              <a:gd name="connsiteY9" fmla="*/ 5692094 h 6859101"/>
              <a:gd name="connsiteX10" fmla="*/ 561 w 8914877"/>
              <a:gd name="connsiteY10" fmla="*/ 4469800 h 6859101"/>
              <a:gd name="connsiteX11" fmla="*/ 47377 w 8914877"/>
              <a:gd name="connsiteY11" fmla="*/ 3945420 h 6859101"/>
              <a:gd name="connsiteX12" fmla="*/ 62248 w 8914877"/>
              <a:gd name="connsiteY12" fmla="*/ 3833673 h 6859101"/>
              <a:gd name="connsiteX13" fmla="*/ 108969 w 8914877"/>
              <a:gd name="connsiteY13" fmla="*/ 3659999 h 6859101"/>
              <a:gd name="connsiteX14" fmla="*/ 139210 w 8914877"/>
              <a:gd name="connsiteY14" fmla="*/ 3592419 h 6859101"/>
              <a:gd name="connsiteX15" fmla="*/ 486668 w 8914877"/>
              <a:gd name="connsiteY15" fmla="*/ 2815597 h 6859101"/>
              <a:gd name="connsiteX16" fmla="*/ 1140836 w 8914877"/>
              <a:gd name="connsiteY16" fmla="*/ 1858458 h 6859101"/>
              <a:gd name="connsiteX17" fmla="*/ 2283959 w 8914877"/>
              <a:gd name="connsiteY17" fmla="*/ 616417 h 6859101"/>
              <a:gd name="connsiteX18" fmla="*/ 2889393 w 8914877"/>
              <a:gd name="connsiteY18" fmla="*/ 67499 h 6859101"/>
              <a:gd name="connsiteX19" fmla="*/ 2971144 w 8914877"/>
              <a:gd name="connsiteY19" fmla="*/ 1101 h 6859101"/>
              <a:gd name="connsiteX0" fmla="*/ 2971144 w 8527206"/>
              <a:gd name="connsiteY0" fmla="*/ 0 h 6858000"/>
              <a:gd name="connsiteX1" fmla="*/ 7752484 w 8527206"/>
              <a:gd name="connsiteY1" fmla="*/ 0 h 6858000"/>
              <a:gd name="connsiteX2" fmla="*/ 8498857 w 8527206"/>
              <a:gd name="connsiteY2" fmla="*/ 615729 h 6858000"/>
              <a:gd name="connsiteX3" fmla="*/ 8527206 w 8527206"/>
              <a:gd name="connsiteY3" fmla="*/ 1631659 h 6858000"/>
              <a:gd name="connsiteX4" fmla="*/ 8527206 w 8527206"/>
              <a:gd name="connsiteY4" fmla="*/ 6858000 h 6858000"/>
              <a:gd name="connsiteX5" fmla="*/ 1968306 w 8527206"/>
              <a:gd name="connsiteY5" fmla="*/ 6858000 h 6858000"/>
              <a:gd name="connsiteX6" fmla="*/ 1963205 w 8527206"/>
              <a:gd name="connsiteY6" fmla="*/ 6855630 h 6858000"/>
              <a:gd name="connsiteX7" fmla="*/ 1098144 w 8527206"/>
              <a:gd name="connsiteY7" fmla="*/ 6340068 h 6858000"/>
              <a:gd name="connsiteX8" fmla="*/ 430707 w 8527206"/>
              <a:gd name="connsiteY8" fmla="*/ 5690993 h 6858000"/>
              <a:gd name="connsiteX9" fmla="*/ 561 w 8527206"/>
              <a:gd name="connsiteY9" fmla="*/ 4468699 h 6858000"/>
              <a:gd name="connsiteX10" fmla="*/ 47377 w 8527206"/>
              <a:gd name="connsiteY10" fmla="*/ 3944319 h 6858000"/>
              <a:gd name="connsiteX11" fmla="*/ 62248 w 8527206"/>
              <a:gd name="connsiteY11" fmla="*/ 3832572 h 6858000"/>
              <a:gd name="connsiteX12" fmla="*/ 108969 w 8527206"/>
              <a:gd name="connsiteY12" fmla="*/ 3658898 h 6858000"/>
              <a:gd name="connsiteX13" fmla="*/ 139210 w 8527206"/>
              <a:gd name="connsiteY13" fmla="*/ 3591318 h 6858000"/>
              <a:gd name="connsiteX14" fmla="*/ 486668 w 8527206"/>
              <a:gd name="connsiteY14" fmla="*/ 2814496 h 6858000"/>
              <a:gd name="connsiteX15" fmla="*/ 1140836 w 8527206"/>
              <a:gd name="connsiteY15" fmla="*/ 1857357 h 6858000"/>
              <a:gd name="connsiteX16" fmla="*/ 2283959 w 8527206"/>
              <a:gd name="connsiteY16" fmla="*/ 615316 h 6858000"/>
              <a:gd name="connsiteX17" fmla="*/ 2889393 w 8527206"/>
              <a:gd name="connsiteY17" fmla="*/ 66398 h 6858000"/>
              <a:gd name="connsiteX18" fmla="*/ 2971144 w 8527206"/>
              <a:gd name="connsiteY18" fmla="*/ 0 h 6858000"/>
              <a:gd name="connsiteX0" fmla="*/ 2971144 w 8531631"/>
              <a:gd name="connsiteY0" fmla="*/ 8385 h 6866385"/>
              <a:gd name="connsiteX1" fmla="*/ 7752484 w 8531631"/>
              <a:gd name="connsiteY1" fmla="*/ 8385 h 6866385"/>
              <a:gd name="connsiteX2" fmla="*/ 8531631 w 8531631"/>
              <a:gd name="connsiteY2" fmla="*/ 0 h 6866385"/>
              <a:gd name="connsiteX3" fmla="*/ 8527206 w 8531631"/>
              <a:gd name="connsiteY3" fmla="*/ 1640044 h 6866385"/>
              <a:gd name="connsiteX4" fmla="*/ 8527206 w 8531631"/>
              <a:gd name="connsiteY4" fmla="*/ 6866385 h 6866385"/>
              <a:gd name="connsiteX5" fmla="*/ 1968306 w 8531631"/>
              <a:gd name="connsiteY5" fmla="*/ 6866385 h 6866385"/>
              <a:gd name="connsiteX6" fmla="*/ 1963205 w 8531631"/>
              <a:gd name="connsiteY6" fmla="*/ 6864015 h 6866385"/>
              <a:gd name="connsiteX7" fmla="*/ 1098144 w 8531631"/>
              <a:gd name="connsiteY7" fmla="*/ 6348453 h 6866385"/>
              <a:gd name="connsiteX8" fmla="*/ 430707 w 8531631"/>
              <a:gd name="connsiteY8" fmla="*/ 5699378 h 6866385"/>
              <a:gd name="connsiteX9" fmla="*/ 561 w 8531631"/>
              <a:gd name="connsiteY9" fmla="*/ 4477084 h 6866385"/>
              <a:gd name="connsiteX10" fmla="*/ 47377 w 8531631"/>
              <a:gd name="connsiteY10" fmla="*/ 3952704 h 6866385"/>
              <a:gd name="connsiteX11" fmla="*/ 62248 w 8531631"/>
              <a:gd name="connsiteY11" fmla="*/ 3840957 h 6866385"/>
              <a:gd name="connsiteX12" fmla="*/ 108969 w 8531631"/>
              <a:gd name="connsiteY12" fmla="*/ 3667283 h 6866385"/>
              <a:gd name="connsiteX13" fmla="*/ 139210 w 8531631"/>
              <a:gd name="connsiteY13" fmla="*/ 3599703 h 6866385"/>
              <a:gd name="connsiteX14" fmla="*/ 486668 w 8531631"/>
              <a:gd name="connsiteY14" fmla="*/ 2822881 h 6866385"/>
              <a:gd name="connsiteX15" fmla="*/ 1140836 w 8531631"/>
              <a:gd name="connsiteY15" fmla="*/ 1865742 h 6866385"/>
              <a:gd name="connsiteX16" fmla="*/ 2283959 w 8531631"/>
              <a:gd name="connsiteY16" fmla="*/ 623701 h 6866385"/>
              <a:gd name="connsiteX17" fmla="*/ 2889393 w 8531631"/>
              <a:gd name="connsiteY17" fmla="*/ 74783 h 6866385"/>
              <a:gd name="connsiteX18" fmla="*/ 2971144 w 8531631"/>
              <a:gd name="connsiteY18" fmla="*/ 8385 h 6866385"/>
              <a:gd name="connsiteX0" fmla="*/ 2971144 w 8527206"/>
              <a:gd name="connsiteY0" fmla="*/ 21085 h 6879085"/>
              <a:gd name="connsiteX1" fmla="*/ 7752484 w 8527206"/>
              <a:gd name="connsiteY1" fmla="*/ 21085 h 6879085"/>
              <a:gd name="connsiteX2" fmla="*/ 8517292 w 8527206"/>
              <a:gd name="connsiteY2" fmla="*/ 0 h 6879085"/>
              <a:gd name="connsiteX3" fmla="*/ 8527206 w 8527206"/>
              <a:gd name="connsiteY3" fmla="*/ 1652744 h 6879085"/>
              <a:gd name="connsiteX4" fmla="*/ 8527206 w 8527206"/>
              <a:gd name="connsiteY4" fmla="*/ 6879085 h 6879085"/>
              <a:gd name="connsiteX5" fmla="*/ 1968306 w 8527206"/>
              <a:gd name="connsiteY5" fmla="*/ 6879085 h 6879085"/>
              <a:gd name="connsiteX6" fmla="*/ 1963205 w 8527206"/>
              <a:gd name="connsiteY6" fmla="*/ 6876715 h 6879085"/>
              <a:gd name="connsiteX7" fmla="*/ 1098144 w 8527206"/>
              <a:gd name="connsiteY7" fmla="*/ 6361153 h 6879085"/>
              <a:gd name="connsiteX8" fmla="*/ 430707 w 8527206"/>
              <a:gd name="connsiteY8" fmla="*/ 5712078 h 6879085"/>
              <a:gd name="connsiteX9" fmla="*/ 561 w 8527206"/>
              <a:gd name="connsiteY9" fmla="*/ 4489784 h 6879085"/>
              <a:gd name="connsiteX10" fmla="*/ 47377 w 8527206"/>
              <a:gd name="connsiteY10" fmla="*/ 3965404 h 6879085"/>
              <a:gd name="connsiteX11" fmla="*/ 62248 w 8527206"/>
              <a:gd name="connsiteY11" fmla="*/ 3853657 h 6879085"/>
              <a:gd name="connsiteX12" fmla="*/ 108969 w 8527206"/>
              <a:gd name="connsiteY12" fmla="*/ 3679983 h 6879085"/>
              <a:gd name="connsiteX13" fmla="*/ 139210 w 8527206"/>
              <a:gd name="connsiteY13" fmla="*/ 3612403 h 6879085"/>
              <a:gd name="connsiteX14" fmla="*/ 486668 w 8527206"/>
              <a:gd name="connsiteY14" fmla="*/ 2835581 h 6879085"/>
              <a:gd name="connsiteX15" fmla="*/ 1140836 w 8527206"/>
              <a:gd name="connsiteY15" fmla="*/ 1878442 h 6879085"/>
              <a:gd name="connsiteX16" fmla="*/ 2283959 w 8527206"/>
              <a:gd name="connsiteY16" fmla="*/ 636401 h 6879085"/>
              <a:gd name="connsiteX17" fmla="*/ 2889393 w 8527206"/>
              <a:gd name="connsiteY17" fmla="*/ 87483 h 6879085"/>
              <a:gd name="connsiteX18" fmla="*/ 2971144 w 8527206"/>
              <a:gd name="connsiteY18" fmla="*/ 21085 h 68790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8527206" h="6879085">
                <a:moveTo>
                  <a:pt x="2971144" y="21085"/>
                </a:moveTo>
                <a:lnTo>
                  <a:pt x="7752484" y="21085"/>
                </a:lnTo>
                <a:lnTo>
                  <a:pt x="8517292" y="0"/>
                </a:lnTo>
                <a:cubicBezTo>
                  <a:pt x="8520597" y="550915"/>
                  <a:pt x="8523901" y="1101829"/>
                  <a:pt x="8527206" y="1652744"/>
                </a:cubicBezTo>
                <a:lnTo>
                  <a:pt x="8527206" y="6879085"/>
                </a:lnTo>
                <a:lnTo>
                  <a:pt x="1968306" y="6879085"/>
                </a:lnTo>
                <a:lnTo>
                  <a:pt x="1963205" y="6876715"/>
                </a:lnTo>
                <a:cubicBezTo>
                  <a:pt x="1660296" y="6729085"/>
                  <a:pt x="1369305" y="6562034"/>
                  <a:pt x="1098144" y="6361153"/>
                </a:cubicBezTo>
                <a:cubicBezTo>
                  <a:pt x="846763" y="6174731"/>
                  <a:pt x="618854" y="5964164"/>
                  <a:pt x="430707" y="5712078"/>
                </a:cubicBezTo>
                <a:cubicBezTo>
                  <a:pt x="160576" y="5349599"/>
                  <a:pt x="10446" y="4944560"/>
                  <a:pt x="561" y="4489784"/>
                </a:cubicBezTo>
                <a:cubicBezTo>
                  <a:pt x="-3349" y="4313367"/>
                  <a:pt x="13298" y="4138562"/>
                  <a:pt x="47377" y="3965404"/>
                </a:cubicBezTo>
                <a:cubicBezTo>
                  <a:pt x="54591" y="3928616"/>
                  <a:pt x="57532" y="3891117"/>
                  <a:pt x="62248" y="3853657"/>
                </a:cubicBezTo>
                <a:lnTo>
                  <a:pt x="108969" y="3679983"/>
                </a:lnTo>
                <a:cubicBezTo>
                  <a:pt x="119050" y="3657455"/>
                  <a:pt x="131522" y="3636010"/>
                  <a:pt x="139210" y="3612403"/>
                </a:cubicBezTo>
                <a:cubicBezTo>
                  <a:pt x="227692" y="3341611"/>
                  <a:pt x="347049" y="3083914"/>
                  <a:pt x="486668" y="2835581"/>
                </a:cubicBezTo>
                <a:cubicBezTo>
                  <a:pt x="676736" y="2497691"/>
                  <a:pt x="899048" y="2181095"/>
                  <a:pt x="1140836" y="1878442"/>
                </a:cubicBezTo>
                <a:cubicBezTo>
                  <a:pt x="1492243" y="1437311"/>
                  <a:pt x="1878074" y="1027633"/>
                  <a:pt x="2283959" y="636401"/>
                </a:cubicBezTo>
                <a:cubicBezTo>
                  <a:pt x="2480507" y="447118"/>
                  <a:pt x="2681614" y="263303"/>
                  <a:pt x="2889393" y="87483"/>
                </a:cubicBezTo>
                <a:lnTo>
                  <a:pt x="2971144" y="21085"/>
                </a:lnTo>
                <a:close/>
              </a:path>
            </a:pathLst>
          </a:custGeom>
          <a:solidFill>
            <a:schemeClr val="accent6">
              <a:lumMod val="20000"/>
              <a:lumOff val="80000"/>
            </a:schemeClr>
          </a:solidFill>
        </p:spPr>
        <p:txBody>
          <a:bodyPr wrap="square" anchor="ctr">
            <a:noAutofit/>
          </a:bodyPr>
          <a:lstStyle>
            <a:lvl1pPr algn="ctr">
              <a:defRPr sz="1600" b="0" i="0">
                <a:latin typeface="Titillium" charset="0"/>
                <a:ea typeface="Titillium" charset="0"/>
                <a:cs typeface="Titillium" charset="0"/>
              </a:defRPr>
            </a:lvl1pPr>
          </a:lstStyle>
          <a:p>
            <a:r>
              <a:rPr lang="en-US" dirty="0"/>
              <a:t>Insert Image</a:t>
            </a:r>
          </a:p>
        </p:txBody>
      </p:sp>
    </p:spTree>
    <p:extLst>
      <p:ext uri="{BB962C8B-B14F-4D97-AF65-F5344CB8AC3E}">
        <p14:creationId xmlns:p14="http://schemas.microsoft.com/office/powerpoint/2010/main" val="344283628"/>
      </p:ext>
    </p:extLst>
  </p:cSld>
  <p:clrMapOvr>
    <a:masterClrMapping/>
  </p:clrMapOvr>
  <p:extLst>
    <p:ext uri="{DCECCB84-F9BA-43D5-87BE-67443E8EF086}">
      <p15:sldGuideLst xmlns:p15="http://schemas.microsoft.com/office/powerpoint/2012/main">
        <p15:guide id="1" orient="horz" pos="2160">
          <p15:clr>
            <a:srgbClr val="FBAE40"/>
          </p15:clr>
        </p15:guide>
        <p15:guide id="2" pos="5120">
          <p15:clr>
            <a:srgbClr val="FBAE40"/>
          </p15:clr>
        </p15:guide>
        <p15:guide id="3" pos="1504">
          <p15:clr>
            <a:srgbClr val="FBAE40"/>
          </p15:clr>
        </p15:guide>
        <p15:guide id="4" pos="8736">
          <p15:clr>
            <a:srgbClr val="FBAE40"/>
          </p15:clr>
        </p15:guide>
        <p15:guide id="5" orient="horz" pos="480">
          <p15:clr>
            <a:srgbClr val="FBAE40"/>
          </p15:clr>
        </p15:guide>
        <p15:guide id="6" orient="horz" pos="3840">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25_Title Slide">
    <p:spTree>
      <p:nvGrpSpPr>
        <p:cNvPr id="1" name=""/>
        <p:cNvGrpSpPr/>
        <p:nvPr/>
      </p:nvGrpSpPr>
      <p:grpSpPr>
        <a:xfrm>
          <a:off x="0" y="0"/>
          <a:ext cx="0" cy="0"/>
          <a:chOff x="0" y="0"/>
          <a:chExt cx="0" cy="0"/>
        </a:xfrm>
      </p:grpSpPr>
      <p:sp>
        <p:nvSpPr>
          <p:cNvPr id="4" name="Picture Placeholder 3"/>
          <p:cNvSpPr>
            <a:spLocks noGrp="1"/>
          </p:cNvSpPr>
          <p:nvPr>
            <p:ph type="pic" sz="quarter" idx="16" hasCustomPrompt="1"/>
          </p:nvPr>
        </p:nvSpPr>
        <p:spPr>
          <a:xfrm>
            <a:off x="1" y="4"/>
            <a:ext cx="4992915" cy="6857999"/>
          </a:xfrm>
          <a:prstGeom prst="rect">
            <a:avLst/>
          </a:prstGeom>
          <a:pattFill prst="pct10">
            <a:fgClr>
              <a:schemeClr val="tx1"/>
            </a:fgClr>
            <a:bgClr>
              <a:schemeClr val="bg1"/>
            </a:bgClr>
          </a:pattFill>
        </p:spPr>
        <p:txBody>
          <a:bodyPr wrap="square" anchor="ctr">
            <a:noAutofit/>
          </a:bodyPr>
          <a:lstStyle>
            <a:lvl1pPr algn="ctr">
              <a:defRPr sz="1600" b="0" i="0">
                <a:latin typeface="Titillium" charset="0"/>
                <a:ea typeface="Titillium" charset="0"/>
                <a:cs typeface="Titillium" charset="0"/>
              </a:defRPr>
            </a:lvl1pPr>
          </a:lstStyle>
          <a:p>
            <a:r>
              <a:rPr lang="en-US" dirty="0"/>
              <a:t>Insert Image</a:t>
            </a:r>
          </a:p>
        </p:txBody>
      </p:sp>
      <p:sp>
        <p:nvSpPr>
          <p:cNvPr id="3" name="Title 1">
            <a:extLst>
              <a:ext uri="{FF2B5EF4-FFF2-40B4-BE49-F238E27FC236}">
                <a16:creationId xmlns:a16="http://schemas.microsoft.com/office/drawing/2014/main" id="{D761995D-0DF1-4E05-86F9-8FDA25736C54}"/>
              </a:ext>
            </a:extLst>
          </p:cNvPr>
          <p:cNvSpPr>
            <a:spLocks noGrp="1"/>
          </p:cNvSpPr>
          <p:nvPr>
            <p:ph type="title"/>
          </p:nvPr>
        </p:nvSpPr>
        <p:spPr>
          <a:xfrm>
            <a:off x="5237427" y="230316"/>
            <a:ext cx="6620744" cy="584775"/>
          </a:xfrm>
        </p:spPr>
        <p:txBody>
          <a:bodyPr>
            <a:spAutoFit/>
          </a:bodyPr>
          <a:lstStyle>
            <a:lvl1pPr>
              <a:defRPr lang="en-GB" dirty="0">
                <a:latin typeface="Open Sans" panose="020B0606030504020204" pitchFamily="34" charset="0"/>
                <a:ea typeface="Open Sans" panose="020B0606030504020204" pitchFamily="34" charset="0"/>
                <a:cs typeface="Open Sans" panose="020B0606030504020204" pitchFamily="34" charset="0"/>
              </a:defRPr>
            </a:lvl1pPr>
          </a:lstStyle>
          <a:p>
            <a:pPr lvl="0"/>
            <a:r>
              <a:rPr lang="en-US" dirty="0"/>
              <a:t>Click to edit Master title style</a:t>
            </a:r>
            <a:endParaRPr lang="en-GB" dirty="0"/>
          </a:p>
        </p:txBody>
      </p:sp>
      <p:sp>
        <p:nvSpPr>
          <p:cNvPr id="6" name="Text Placeholder 5">
            <a:extLst>
              <a:ext uri="{FF2B5EF4-FFF2-40B4-BE49-F238E27FC236}">
                <a16:creationId xmlns:a16="http://schemas.microsoft.com/office/drawing/2014/main" id="{634D9C7A-5BAD-4769-A6FA-F5D17B27ACD4}"/>
              </a:ext>
            </a:extLst>
          </p:cNvPr>
          <p:cNvSpPr>
            <a:spLocks noGrp="1"/>
          </p:cNvSpPr>
          <p:nvPr>
            <p:ph type="body" sz="quarter" idx="17"/>
          </p:nvPr>
        </p:nvSpPr>
        <p:spPr>
          <a:xfrm>
            <a:off x="5237427" y="843419"/>
            <a:ext cx="6620744" cy="246221"/>
          </a:xfrm>
        </p:spPr>
        <p:txBody>
          <a:bodyPr lIns="90000"/>
          <a:lstStyle>
            <a:lvl1pPr>
              <a:defRPr>
                <a:solidFill>
                  <a:schemeClr val="tx1"/>
                </a:solidFill>
              </a:defRPr>
            </a:lvl1pPr>
          </a:lstStyle>
          <a:p>
            <a:pPr lvl="0"/>
            <a:r>
              <a:rPr lang="en-US" dirty="0"/>
              <a:t>Edit Master text styles</a:t>
            </a:r>
          </a:p>
        </p:txBody>
      </p:sp>
    </p:spTree>
    <p:extLst>
      <p:ext uri="{BB962C8B-B14F-4D97-AF65-F5344CB8AC3E}">
        <p14:creationId xmlns:p14="http://schemas.microsoft.com/office/powerpoint/2010/main" val="315042998"/>
      </p:ext>
    </p:extLst>
  </p:cSld>
  <p:clrMapOvr>
    <a:masterClrMapping/>
  </p:clrMapOvr>
  <p:extLst>
    <p:ext uri="{DCECCB84-F9BA-43D5-87BE-67443E8EF086}">
      <p15:sldGuideLst xmlns:p15="http://schemas.microsoft.com/office/powerpoint/2012/main">
        <p15:guide id="1" orient="horz" pos="2160">
          <p15:clr>
            <a:srgbClr val="FBAE40"/>
          </p15:clr>
        </p15:guide>
        <p15:guide id="2" pos="5120">
          <p15:clr>
            <a:srgbClr val="FBAE40"/>
          </p15:clr>
        </p15:guide>
        <p15:guide id="3" pos="1504">
          <p15:clr>
            <a:srgbClr val="FBAE40"/>
          </p15:clr>
        </p15:guide>
        <p15:guide id="4" pos="8736">
          <p15:clr>
            <a:srgbClr val="FBAE40"/>
          </p15:clr>
        </p15:guide>
        <p15:guide id="5" orient="horz" pos="480">
          <p15:clr>
            <a:srgbClr val="FBAE40"/>
          </p15:clr>
        </p15:guide>
        <p15:guide id="6" orient="horz" pos="3840">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26_Title Slide">
    <p:spTree>
      <p:nvGrpSpPr>
        <p:cNvPr id="1" name=""/>
        <p:cNvGrpSpPr/>
        <p:nvPr/>
      </p:nvGrpSpPr>
      <p:grpSpPr>
        <a:xfrm>
          <a:off x="0" y="0"/>
          <a:ext cx="0" cy="0"/>
          <a:chOff x="0" y="0"/>
          <a:chExt cx="0" cy="0"/>
        </a:xfrm>
      </p:grpSpPr>
      <p:sp>
        <p:nvSpPr>
          <p:cNvPr id="4" name="Picture Placeholder 3"/>
          <p:cNvSpPr>
            <a:spLocks noGrp="1"/>
          </p:cNvSpPr>
          <p:nvPr>
            <p:ph type="pic" sz="quarter" idx="16" hasCustomPrompt="1"/>
          </p:nvPr>
        </p:nvSpPr>
        <p:spPr>
          <a:xfrm>
            <a:off x="7199085" y="4"/>
            <a:ext cx="4992915" cy="6857999"/>
          </a:xfrm>
          <a:prstGeom prst="rect">
            <a:avLst/>
          </a:prstGeom>
          <a:pattFill prst="pct10">
            <a:fgClr>
              <a:schemeClr val="tx1"/>
            </a:fgClr>
            <a:bgClr>
              <a:schemeClr val="bg1"/>
            </a:bgClr>
          </a:pattFill>
        </p:spPr>
        <p:txBody>
          <a:bodyPr wrap="square" anchor="ctr">
            <a:noAutofit/>
          </a:bodyPr>
          <a:lstStyle>
            <a:lvl1pPr algn="ctr">
              <a:defRPr sz="1600" b="0" i="0">
                <a:latin typeface="Titillium" charset="0"/>
                <a:ea typeface="Titillium" charset="0"/>
                <a:cs typeface="Titillium" charset="0"/>
              </a:defRPr>
            </a:lvl1pPr>
          </a:lstStyle>
          <a:p>
            <a:r>
              <a:rPr lang="en-US" dirty="0"/>
              <a:t>Insert Image</a:t>
            </a:r>
          </a:p>
        </p:txBody>
      </p:sp>
      <p:sp>
        <p:nvSpPr>
          <p:cNvPr id="7" name="Title 1">
            <a:extLst>
              <a:ext uri="{FF2B5EF4-FFF2-40B4-BE49-F238E27FC236}">
                <a16:creationId xmlns:a16="http://schemas.microsoft.com/office/drawing/2014/main" id="{82560FEA-821F-4038-85D3-E058A399FEAA}"/>
              </a:ext>
            </a:extLst>
          </p:cNvPr>
          <p:cNvSpPr>
            <a:spLocks noGrp="1"/>
          </p:cNvSpPr>
          <p:nvPr>
            <p:ph type="title"/>
          </p:nvPr>
        </p:nvSpPr>
        <p:spPr>
          <a:xfrm>
            <a:off x="723900" y="230316"/>
            <a:ext cx="6324600" cy="584775"/>
          </a:xfrm>
        </p:spPr>
        <p:txBody>
          <a:bodyPr>
            <a:spAutoFit/>
          </a:bodyPr>
          <a:lstStyle>
            <a:lvl1pPr>
              <a:defRPr lang="en-GB" dirty="0">
                <a:latin typeface="Open Sans" panose="020B0606030504020204" pitchFamily="34" charset="0"/>
                <a:ea typeface="Open Sans" panose="020B0606030504020204" pitchFamily="34" charset="0"/>
                <a:cs typeface="Open Sans" panose="020B0606030504020204" pitchFamily="34" charset="0"/>
              </a:defRPr>
            </a:lvl1pPr>
          </a:lstStyle>
          <a:p>
            <a:pPr lvl="0"/>
            <a:r>
              <a:rPr lang="en-US" dirty="0"/>
              <a:t>Click to edit Master title style</a:t>
            </a:r>
            <a:endParaRPr lang="en-GB" dirty="0"/>
          </a:p>
        </p:txBody>
      </p:sp>
      <p:sp>
        <p:nvSpPr>
          <p:cNvPr id="9" name="Text Placeholder 5">
            <a:extLst>
              <a:ext uri="{FF2B5EF4-FFF2-40B4-BE49-F238E27FC236}">
                <a16:creationId xmlns:a16="http://schemas.microsoft.com/office/drawing/2014/main" id="{695859B5-3F97-4723-B598-3A1EF775910E}"/>
              </a:ext>
            </a:extLst>
          </p:cNvPr>
          <p:cNvSpPr>
            <a:spLocks noGrp="1"/>
          </p:cNvSpPr>
          <p:nvPr>
            <p:ph type="body" sz="quarter" idx="17"/>
          </p:nvPr>
        </p:nvSpPr>
        <p:spPr>
          <a:xfrm>
            <a:off x="723917" y="843419"/>
            <a:ext cx="6324599" cy="246221"/>
          </a:xfrm>
        </p:spPr>
        <p:txBody>
          <a:bodyPr lIns="90000"/>
          <a:lstStyle>
            <a:lvl1pPr>
              <a:defRPr>
                <a:solidFill>
                  <a:schemeClr val="tx1"/>
                </a:solidFill>
              </a:defRPr>
            </a:lvl1pPr>
          </a:lstStyle>
          <a:p>
            <a:pPr lvl="0"/>
            <a:r>
              <a:rPr lang="en-US" dirty="0"/>
              <a:t>Edit Master text styles</a:t>
            </a:r>
          </a:p>
        </p:txBody>
      </p:sp>
    </p:spTree>
    <p:extLst>
      <p:ext uri="{BB962C8B-B14F-4D97-AF65-F5344CB8AC3E}">
        <p14:creationId xmlns:p14="http://schemas.microsoft.com/office/powerpoint/2010/main" val="1983272905"/>
      </p:ext>
    </p:extLst>
  </p:cSld>
  <p:clrMapOvr>
    <a:masterClrMapping/>
  </p:clrMapOvr>
  <p:extLst>
    <p:ext uri="{DCECCB84-F9BA-43D5-87BE-67443E8EF086}">
      <p15:sldGuideLst xmlns:p15="http://schemas.microsoft.com/office/powerpoint/2012/main">
        <p15:guide id="1" orient="horz" pos="2160">
          <p15:clr>
            <a:srgbClr val="FBAE40"/>
          </p15:clr>
        </p15:guide>
        <p15:guide id="2" pos="5120">
          <p15:clr>
            <a:srgbClr val="FBAE40"/>
          </p15:clr>
        </p15:guide>
        <p15:guide id="3" pos="1504">
          <p15:clr>
            <a:srgbClr val="FBAE40"/>
          </p15:clr>
        </p15:guide>
        <p15:guide id="4" pos="8736">
          <p15:clr>
            <a:srgbClr val="FBAE40"/>
          </p15:clr>
        </p15:guide>
        <p15:guide id="5" orient="horz" pos="480">
          <p15:clr>
            <a:srgbClr val="FBAE40"/>
          </p15:clr>
        </p15:guide>
        <p15:guide id="6" orient="horz" pos="3840">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1.xml"/><Relationship Id="rId18" Type="http://schemas.openxmlformats.org/officeDocument/2006/relationships/tags" Target="../tags/tag6.xml"/><Relationship Id="rId26" Type="http://schemas.openxmlformats.org/officeDocument/2006/relationships/tags" Target="../tags/tag14.xml"/><Relationship Id="rId3" Type="http://schemas.openxmlformats.org/officeDocument/2006/relationships/slideLayout" Target="../slideLayouts/slideLayout3.xml"/><Relationship Id="rId21" Type="http://schemas.openxmlformats.org/officeDocument/2006/relationships/tags" Target="../tags/tag9.xml"/><Relationship Id="rId7" Type="http://schemas.openxmlformats.org/officeDocument/2006/relationships/slideLayout" Target="../slideLayouts/slideLayout7.xml"/><Relationship Id="rId12" Type="http://schemas.openxmlformats.org/officeDocument/2006/relationships/vmlDrawing" Target="../drawings/vmlDrawing1.vml"/><Relationship Id="rId17" Type="http://schemas.openxmlformats.org/officeDocument/2006/relationships/tags" Target="../tags/tag5.xml"/><Relationship Id="rId25" Type="http://schemas.openxmlformats.org/officeDocument/2006/relationships/tags" Target="../tags/tag13.xml"/><Relationship Id="rId2" Type="http://schemas.openxmlformats.org/officeDocument/2006/relationships/slideLayout" Target="../slideLayouts/slideLayout2.xml"/><Relationship Id="rId16" Type="http://schemas.openxmlformats.org/officeDocument/2006/relationships/tags" Target="../tags/tag4.xml"/><Relationship Id="rId20" Type="http://schemas.openxmlformats.org/officeDocument/2006/relationships/tags" Target="../tags/tag8.xml"/><Relationship Id="rId29" Type="http://schemas.openxmlformats.org/officeDocument/2006/relationships/tags" Target="../tags/tag17.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24" Type="http://schemas.openxmlformats.org/officeDocument/2006/relationships/tags" Target="../tags/tag12.xml"/><Relationship Id="rId32" Type="http://schemas.openxmlformats.org/officeDocument/2006/relationships/image" Target="../media/image1.emf"/><Relationship Id="rId5" Type="http://schemas.openxmlformats.org/officeDocument/2006/relationships/slideLayout" Target="../slideLayouts/slideLayout5.xml"/><Relationship Id="rId15" Type="http://schemas.openxmlformats.org/officeDocument/2006/relationships/tags" Target="../tags/tag3.xml"/><Relationship Id="rId23" Type="http://schemas.openxmlformats.org/officeDocument/2006/relationships/tags" Target="../tags/tag11.xml"/><Relationship Id="rId28" Type="http://schemas.openxmlformats.org/officeDocument/2006/relationships/tags" Target="../tags/tag16.xml"/><Relationship Id="rId10" Type="http://schemas.openxmlformats.org/officeDocument/2006/relationships/slideLayout" Target="../slideLayouts/slideLayout10.xml"/><Relationship Id="rId19" Type="http://schemas.openxmlformats.org/officeDocument/2006/relationships/tags" Target="../tags/tag7.xml"/><Relationship Id="rId31"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2.xml"/><Relationship Id="rId22" Type="http://schemas.openxmlformats.org/officeDocument/2006/relationships/tags" Target="../tags/tag10.xml"/><Relationship Id="rId27" Type="http://schemas.openxmlformats.org/officeDocument/2006/relationships/tags" Target="../tags/tag15.xml"/><Relationship Id="rId30" Type="http://schemas.openxmlformats.org/officeDocument/2006/relationships/tags" Target="../tags/tag18.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8.xml"/><Relationship Id="rId13" Type="http://schemas.openxmlformats.org/officeDocument/2006/relationships/theme" Target="../theme/theme2.xml"/><Relationship Id="rId3" Type="http://schemas.openxmlformats.org/officeDocument/2006/relationships/slideLayout" Target="../slideLayouts/slideLayout13.xml"/><Relationship Id="rId7" Type="http://schemas.openxmlformats.org/officeDocument/2006/relationships/slideLayout" Target="../slideLayouts/slideLayout17.xml"/><Relationship Id="rId12" Type="http://schemas.openxmlformats.org/officeDocument/2006/relationships/slideLayout" Target="../slideLayouts/slideLayout22.xml"/><Relationship Id="rId2" Type="http://schemas.openxmlformats.org/officeDocument/2006/relationships/slideLayout" Target="../slideLayouts/slideLayout12.xml"/><Relationship Id="rId1" Type="http://schemas.openxmlformats.org/officeDocument/2006/relationships/slideLayout" Target="../slideLayouts/slideLayout11.xml"/><Relationship Id="rId6" Type="http://schemas.openxmlformats.org/officeDocument/2006/relationships/slideLayout" Target="../slideLayouts/slideLayout16.xml"/><Relationship Id="rId11" Type="http://schemas.openxmlformats.org/officeDocument/2006/relationships/slideLayout" Target="../slideLayouts/slideLayout21.xml"/><Relationship Id="rId5" Type="http://schemas.openxmlformats.org/officeDocument/2006/relationships/slideLayout" Target="../slideLayouts/slideLayout15.xml"/><Relationship Id="rId10" Type="http://schemas.openxmlformats.org/officeDocument/2006/relationships/slideLayout" Target="../slideLayouts/slideLayout20.xml"/><Relationship Id="rId4" Type="http://schemas.openxmlformats.org/officeDocument/2006/relationships/slideLayout" Target="../slideLayouts/slideLayout14.xml"/><Relationship Id="rId9" Type="http://schemas.openxmlformats.org/officeDocument/2006/relationships/slideLayout" Target="../slideLayouts/slideLayout19.xml"/><Relationship Id="rId14" Type="http://schemas.openxmlformats.org/officeDocument/2006/relationships/image" Target="../media/image5.png"/></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0.xml"/><Relationship Id="rId13" Type="http://schemas.openxmlformats.org/officeDocument/2006/relationships/theme" Target="../theme/theme3.xml"/><Relationship Id="rId3" Type="http://schemas.openxmlformats.org/officeDocument/2006/relationships/slideLayout" Target="../slideLayouts/slideLayout25.xml"/><Relationship Id="rId7" Type="http://schemas.openxmlformats.org/officeDocument/2006/relationships/slideLayout" Target="../slideLayouts/slideLayout29.xml"/><Relationship Id="rId12" Type="http://schemas.openxmlformats.org/officeDocument/2006/relationships/slideLayout" Target="../slideLayouts/slideLayout34.xml"/><Relationship Id="rId2" Type="http://schemas.openxmlformats.org/officeDocument/2006/relationships/slideLayout" Target="../slideLayouts/slideLayout24.xml"/><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slideLayout" Target="../slideLayouts/slideLayout33.xml"/><Relationship Id="rId5" Type="http://schemas.openxmlformats.org/officeDocument/2006/relationships/slideLayout" Target="../slideLayouts/slideLayout27.xml"/><Relationship Id="rId10" Type="http://schemas.openxmlformats.org/officeDocument/2006/relationships/slideLayout" Target="../slideLayouts/slideLayout32.xml"/><Relationship Id="rId4" Type="http://schemas.openxmlformats.org/officeDocument/2006/relationships/slideLayout" Target="../slideLayouts/slideLayout26.xml"/><Relationship Id="rId9" Type="http://schemas.openxmlformats.org/officeDocument/2006/relationships/slideLayout" Target="../slideLayouts/slideLayout3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3"/>
            </p:custDataLst>
            <p:extLst>
              <p:ext uri="{D42A27DB-BD31-4B8C-83A1-F6EECF244321}">
                <p14:modId xmlns:p14="http://schemas.microsoft.com/office/powerpoint/2010/main" val="1277059643"/>
              </p:ext>
            </p:extLst>
          </p:nvPr>
        </p:nvGraphicFramePr>
        <p:xfrm>
          <a:off x="1" y="0"/>
          <a:ext cx="215979" cy="161974"/>
        </p:xfrm>
        <a:graphic>
          <a:graphicData uri="http://schemas.openxmlformats.org/presentationml/2006/ole">
            <mc:AlternateContent xmlns:mc="http://schemas.openxmlformats.org/markup-compatibility/2006">
              <mc:Choice xmlns:v="urn:schemas-microsoft-com:vml" Requires="v">
                <p:oleObj spid="_x0000_s1435" name="think-cell Slide" r:id="rId31" imgW="270" imgH="270" progId="TCLayout.ActiveDocument.1">
                  <p:embed/>
                </p:oleObj>
              </mc:Choice>
              <mc:Fallback>
                <p:oleObj name="think-cell Slide" r:id="rId31" imgW="270" imgH="270" progId="TCLayout.ActiveDocument.1">
                  <p:embed/>
                  <p:pic>
                    <p:nvPicPr>
                      <p:cNvPr id="2" name="Object 1" hidden="1"/>
                      <p:cNvPicPr/>
                      <p:nvPr/>
                    </p:nvPicPr>
                    <p:blipFill>
                      <a:blip r:embed="rId32"/>
                      <a:stretch>
                        <a:fillRect/>
                      </a:stretch>
                    </p:blipFill>
                    <p:spPr>
                      <a:xfrm>
                        <a:off x="1" y="0"/>
                        <a:ext cx="215979" cy="161974"/>
                      </a:xfrm>
                      <a:prstGeom prst="rect">
                        <a:avLst/>
                      </a:prstGeom>
                    </p:spPr>
                  </p:pic>
                </p:oleObj>
              </mc:Fallback>
            </mc:AlternateContent>
          </a:graphicData>
        </a:graphic>
      </p:graphicFrame>
      <p:sp>
        <p:nvSpPr>
          <p:cNvPr id="6" name="Rectangle 5" hidden="1"/>
          <p:cNvSpPr/>
          <p:nvPr>
            <p:custDataLst>
              <p:tags r:id="rId14"/>
            </p:custDataLst>
          </p:nvPr>
        </p:nvSpPr>
        <p:spPr bwMode="auto">
          <a:xfrm>
            <a:off x="1" y="0"/>
            <a:ext cx="215979" cy="161974"/>
          </a:xfrm>
          <a:prstGeom prst="rect">
            <a:avLst/>
          </a:prstGeom>
          <a:solidFill>
            <a:schemeClr val="bg2"/>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fontAlgn="base">
              <a:spcBef>
                <a:spcPct val="0"/>
              </a:spcBef>
              <a:spcAft>
                <a:spcPct val="0"/>
              </a:spcAft>
            </a:pPr>
            <a:endParaRPr lang="en-US" sz="1983" dirty="0">
              <a:solidFill>
                <a:srgbClr val="000000"/>
              </a:solidFill>
              <a:sym typeface="Arial" panose="020B0604020202020204" pitchFamily="34" charset="0"/>
            </a:endParaRPr>
          </a:p>
        </p:txBody>
      </p:sp>
      <p:sp>
        <p:nvSpPr>
          <p:cNvPr id="19" name="Title Placeholder 2"/>
          <p:cNvSpPr>
            <a:spLocks noGrp="1" noChangeArrowheads="1"/>
          </p:cNvSpPr>
          <p:nvPr>
            <p:ph type="title"/>
          </p:nvPr>
        </p:nvSpPr>
        <p:spPr bwMode="auto">
          <a:xfrm>
            <a:off x="723900" y="230316"/>
            <a:ext cx="10820400" cy="584775"/>
          </a:xfrm>
          <a:prstGeom prst="rect">
            <a:avLst/>
          </a:prstGeom>
        </p:spPr>
        <p:txBody>
          <a:bodyPr>
            <a:spAutoFit/>
          </a:bodyPr>
          <a:lstStyle/>
          <a:p>
            <a:pPr lvl="0"/>
            <a:r>
              <a:rPr lang="en-US" dirty="0"/>
              <a:t>Click to edit Master title style</a:t>
            </a:r>
            <a:endParaRPr lang="en-US" noProof="0" dirty="0"/>
          </a:p>
        </p:txBody>
      </p:sp>
      <p:sp>
        <p:nvSpPr>
          <p:cNvPr id="3" name="Text Placeholder 2"/>
          <p:cNvSpPr>
            <a:spLocks noGrp="1"/>
          </p:cNvSpPr>
          <p:nvPr>
            <p:ph type="body" idx="1"/>
          </p:nvPr>
        </p:nvSpPr>
        <p:spPr bwMode="auto">
          <a:xfrm>
            <a:off x="1976208" y="2935527"/>
            <a:ext cx="5853024" cy="1231106"/>
          </a:xfrm>
          <a:prstGeom prst="rect">
            <a:avLst/>
          </a:prstGeom>
        </p:spPr>
        <p:txBody>
          <a:bodyPr vert="horz" lIns="0" tIns="0" rIns="0" bIns="0" rtlCol="0">
            <a:spAutoFit/>
          </a:bodyPr>
          <a:lstStyle/>
          <a:p>
            <a:pPr lvl="0" latinLnBrk="0"/>
            <a:r>
              <a:rPr lang="en-US"/>
              <a:t>Edit Master text styles</a:t>
            </a:r>
          </a:p>
          <a:p>
            <a:pPr lvl="1" latinLnBrk="0"/>
            <a:r>
              <a:rPr lang="en-US"/>
              <a:t>Second level</a:t>
            </a:r>
          </a:p>
          <a:p>
            <a:pPr lvl="2" latinLnBrk="0"/>
            <a:r>
              <a:rPr lang="en-US"/>
              <a:t>Third level</a:t>
            </a:r>
          </a:p>
          <a:p>
            <a:pPr lvl="3" latinLnBrk="0"/>
            <a:r>
              <a:rPr lang="en-US"/>
              <a:t>Fourth level</a:t>
            </a:r>
          </a:p>
          <a:p>
            <a:pPr lvl="4" latinLnBrk="0"/>
            <a:r>
              <a:rPr lang="en-US"/>
              <a:t>Fifth level</a:t>
            </a:r>
            <a:endParaRPr lang="en-US" dirty="0"/>
          </a:p>
        </p:txBody>
      </p:sp>
      <p:sp>
        <p:nvSpPr>
          <p:cNvPr id="10" name="1. On-page tracker" hidden="1"/>
          <p:cNvSpPr>
            <a:spLocks noChangeArrowheads="1"/>
          </p:cNvSpPr>
          <p:nvPr/>
        </p:nvSpPr>
        <p:spPr bwMode="auto">
          <a:xfrm>
            <a:off x="233256" y="9525"/>
            <a:ext cx="663900"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fontAlgn="base">
              <a:spcBef>
                <a:spcPct val="0"/>
              </a:spcBef>
              <a:spcAft>
                <a:spcPct val="0"/>
              </a:spcAft>
            </a:pPr>
            <a:r>
              <a:rPr lang="en-US" sz="1400" cap="all" dirty="0">
                <a:solidFill>
                  <a:srgbClr val="70AD47"/>
                </a:solidFill>
              </a:rPr>
              <a:t>Tracker</a:t>
            </a:r>
          </a:p>
        </p:txBody>
      </p:sp>
      <p:sp>
        <p:nvSpPr>
          <p:cNvPr id="11" name="3. Unit of measure" hidden="1"/>
          <p:cNvSpPr txBox="1">
            <a:spLocks noChangeArrowheads="1"/>
          </p:cNvSpPr>
          <p:nvPr/>
        </p:nvSpPr>
        <p:spPr bwMode="auto">
          <a:xfrm>
            <a:off x="233256" y="607359"/>
            <a:ext cx="10287000"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600" dirty="0">
                <a:solidFill>
                  <a:srgbClr val="70AD47"/>
                </a:solidFill>
                <a:latin typeface="Calibri"/>
              </a:rPr>
              <a:t>Unit of measure</a:t>
            </a:r>
          </a:p>
        </p:txBody>
      </p:sp>
      <p:grpSp>
        <p:nvGrpSpPr>
          <p:cNvPr id="4" name="Slide Elements" hidden="1"/>
          <p:cNvGrpSpPr/>
          <p:nvPr userDrawn="1"/>
        </p:nvGrpSpPr>
        <p:grpSpPr bwMode="auto">
          <a:xfrm>
            <a:off x="233256" y="6422431"/>
            <a:ext cx="11539643" cy="359597"/>
            <a:chOff x="119063" y="6278944"/>
            <a:chExt cx="8618537" cy="352439"/>
          </a:xfrm>
        </p:grpSpPr>
        <p:sp>
          <p:nvSpPr>
            <p:cNvPr id="13" name="4. Footnote"/>
            <p:cNvSpPr txBox="1">
              <a:spLocks noChangeArrowheads="1"/>
            </p:cNvSpPr>
            <p:nvPr/>
          </p:nvSpPr>
          <p:spPr bwMode="auto">
            <a:xfrm>
              <a:off x="119063" y="6278944"/>
              <a:ext cx="8618537" cy="1508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marL="95250" indent="-95250" fontAlgn="base">
                <a:spcBef>
                  <a:spcPct val="0"/>
                </a:spcBef>
                <a:spcAft>
                  <a:spcPct val="0"/>
                </a:spcAft>
                <a:defRPr/>
              </a:pPr>
              <a:r>
                <a:rPr lang="en-US" sz="1000" dirty="0">
                  <a:solidFill>
                    <a:prstClr val="black"/>
                  </a:solidFill>
                  <a:latin typeface="Calibri"/>
                </a:rPr>
                <a:t>1 Footnote</a:t>
              </a:r>
            </a:p>
          </p:txBody>
        </p:sp>
        <p:sp>
          <p:nvSpPr>
            <p:cNvPr id="14" name="5. Source"/>
            <p:cNvSpPr>
              <a:spLocks noChangeArrowheads="1"/>
            </p:cNvSpPr>
            <p:nvPr/>
          </p:nvSpPr>
          <p:spPr bwMode="auto">
            <a:xfrm>
              <a:off x="119064" y="6480558"/>
              <a:ext cx="8251387" cy="1508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marL="485775" indent="-485775" defTabSz="913800" fontAlgn="base">
                <a:spcBef>
                  <a:spcPct val="0"/>
                </a:spcBef>
                <a:spcAft>
                  <a:spcPct val="0"/>
                </a:spcAft>
                <a:tabLst>
                  <a:tab pos="609600" algn="l"/>
                </a:tabLst>
              </a:pPr>
              <a:r>
                <a:rPr lang="en-US" sz="1000" dirty="0">
                  <a:solidFill>
                    <a:prstClr val="black"/>
                  </a:solidFill>
                </a:rPr>
                <a:t>SOURCE: Source</a:t>
              </a:r>
            </a:p>
          </p:txBody>
        </p:sp>
      </p:grpSp>
      <p:grpSp>
        <p:nvGrpSpPr>
          <p:cNvPr id="15" name="ACET" hidden="1"/>
          <p:cNvGrpSpPr>
            <a:grpSpLocks/>
          </p:cNvGrpSpPr>
          <p:nvPr/>
        </p:nvGrpSpPr>
        <p:grpSpPr bwMode="auto">
          <a:xfrm>
            <a:off x="1976205" y="2350212"/>
            <a:ext cx="5853024" cy="510220"/>
            <a:chOff x="915" y="715"/>
            <a:chExt cx="2686" cy="315"/>
          </a:xfrm>
        </p:grpSpPr>
        <p:cxnSp>
          <p:nvCxnSpPr>
            <p:cNvPr id="16" name="AutoShape 249"/>
            <p:cNvCxnSpPr>
              <a:cxnSpLocks noChangeShapeType="1"/>
              <a:stCxn id="18" idx="4"/>
              <a:endCxn id="18" idx="6"/>
            </p:cNvCxnSpPr>
            <p:nvPr/>
          </p:nvCxnSpPr>
          <p:spPr bwMode="auto">
            <a:xfrm>
              <a:off x="915" y="1030"/>
              <a:ext cx="2686" cy="0"/>
            </a:xfrm>
            <a:prstGeom prst="straightConnector1">
              <a:avLst/>
            </a:prstGeom>
            <a:noFill/>
            <a:ln w="9525">
              <a:solidFill>
                <a:schemeClr val="accent6"/>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8" name="AutoShape 250"/>
            <p:cNvSpPr>
              <a:spLocks noChangeArrowheads="1"/>
            </p:cNvSpPr>
            <p:nvPr/>
          </p:nvSpPr>
          <p:spPr bwMode="auto">
            <a:xfrm>
              <a:off x="915" y="715"/>
              <a:ext cx="2686" cy="315"/>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pPr fontAlgn="base">
                <a:spcBef>
                  <a:spcPct val="0"/>
                </a:spcBef>
                <a:spcAft>
                  <a:spcPct val="0"/>
                </a:spcAft>
              </a:pPr>
              <a:r>
                <a:rPr lang="en-US" sz="1600" b="1" dirty="0">
                  <a:solidFill>
                    <a:srgbClr val="000000"/>
                  </a:solidFill>
                </a:rPr>
                <a:t>Title</a:t>
              </a:r>
            </a:p>
            <a:p>
              <a:pPr fontAlgn="base">
                <a:spcBef>
                  <a:spcPct val="0"/>
                </a:spcBef>
                <a:spcAft>
                  <a:spcPct val="0"/>
                </a:spcAft>
              </a:pPr>
              <a:r>
                <a:rPr lang="en-US" sz="1600" dirty="0">
                  <a:solidFill>
                    <a:srgbClr val="70AD47"/>
                  </a:solidFill>
                </a:rPr>
                <a:t>Unit of measure</a:t>
              </a:r>
            </a:p>
          </p:txBody>
        </p:sp>
      </p:grpSp>
      <p:grpSp>
        <p:nvGrpSpPr>
          <p:cNvPr id="63" name="LegendBoxes" hidden="1"/>
          <p:cNvGrpSpPr>
            <a:grpSpLocks/>
          </p:cNvGrpSpPr>
          <p:nvPr userDrawn="1"/>
        </p:nvGrpSpPr>
        <p:grpSpPr bwMode="auto">
          <a:xfrm>
            <a:off x="9820469" y="304666"/>
            <a:ext cx="703263" cy="996951"/>
            <a:chOff x="4936" y="176"/>
            <a:chExt cx="443" cy="628"/>
          </a:xfrm>
        </p:grpSpPr>
        <p:sp>
          <p:nvSpPr>
            <p:cNvPr id="64" name="Legend1"/>
            <p:cNvSpPr>
              <a:spLocks noChangeArrowheads="1"/>
            </p:cNvSpPr>
            <p:nvPr/>
          </p:nvSpPr>
          <p:spPr bwMode="auto">
            <a:xfrm>
              <a:off x="5096" y="176"/>
              <a:ext cx="283" cy="11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619" fontAlgn="base">
                <a:spcBef>
                  <a:spcPct val="0"/>
                </a:spcBef>
                <a:spcAft>
                  <a:spcPct val="0"/>
                </a:spcAft>
                <a:buClr>
                  <a:srgbClr val="44546A"/>
                </a:buClr>
              </a:pPr>
              <a:r>
                <a:rPr lang="en-US" sz="1200">
                  <a:solidFill>
                    <a:prstClr val="black"/>
                  </a:solidFill>
                </a:rPr>
                <a:t>Legend</a:t>
              </a:r>
            </a:p>
          </p:txBody>
        </p:sp>
        <p:sp>
          <p:nvSpPr>
            <p:cNvPr id="65" name="LegendRectangle1"/>
            <p:cNvSpPr>
              <a:spLocks noChangeArrowheads="1"/>
            </p:cNvSpPr>
            <p:nvPr/>
          </p:nvSpPr>
          <p:spPr bwMode="auto">
            <a:xfrm>
              <a:off x="4936" y="183"/>
              <a:ext cx="104" cy="101"/>
            </a:xfrm>
            <a:prstGeom prst="rect">
              <a:avLst/>
            </a:prstGeom>
            <a:solidFill>
              <a:schemeClr val="accent1"/>
            </a:solid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944">
                <a:solidFill>
                  <a:prstClr val="black"/>
                </a:solidFill>
              </a:endParaRPr>
            </a:p>
          </p:txBody>
        </p:sp>
        <p:sp>
          <p:nvSpPr>
            <p:cNvPr id="66" name="Legend2"/>
            <p:cNvSpPr>
              <a:spLocks noChangeArrowheads="1"/>
            </p:cNvSpPr>
            <p:nvPr/>
          </p:nvSpPr>
          <p:spPr bwMode="auto">
            <a:xfrm>
              <a:off x="5096" y="346"/>
              <a:ext cx="283" cy="11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619" fontAlgn="base">
                <a:spcBef>
                  <a:spcPct val="0"/>
                </a:spcBef>
                <a:spcAft>
                  <a:spcPct val="0"/>
                </a:spcAft>
                <a:buClr>
                  <a:srgbClr val="44546A"/>
                </a:buClr>
              </a:pPr>
              <a:r>
                <a:rPr lang="en-US" sz="1200">
                  <a:solidFill>
                    <a:prstClr val="black"/>
                  </a:solidFill>
                </a:rPr>
                <a:t>Legend</a:t>
              </a:r>
            </a:p>
          </p:txBody>
        </p:sp>
        <p:sp>
          <p:nvSpPr>
            <p:cNvPr id="67" name="LegendRectangle2"/>
            <p:cNvSpPr>
              <a:spLocks noChangeArrowheads="1"/>
            </p:cNvSpPr>
            <p:nvPr/>
          </p:nvSpPr>
          <p:spPr bwMode="auto">
            <a:xfrm>
              <a:off x="4936" y="353"/>
              <a:ext cx="104" cy="101"/>
            </a:xfrm>
            <a:prstGeom prst="rect">
              <a:avLst/>
            </a:prstGeom>
            <a:solidFill>
              <a:schemeClr val="accent2"/>
            </a:solid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944">
                <a:solidFill>
                  <a:prstClr val="black"/>
                </a:solidFill>
              </a:endParaRPr>
            </a:p>
          </p:txBody>
        </p:sp>
        <p:sp>
          <p:nvSpPr>
            <p:cNvPr id="68" name="Legend3"/>
            <p:cNvSpPr>
              <a:spLocks noChangeArrowheads="1"/>
            </p:cNvSpPr>
            <p:nvPr/>
          </p:nvSpPr>
          <p:spPr bwMode="auto">
            <a:xfrm>
              <a:off x="5096" y="517"/>
              <a:ext cx="283" cy="11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619" fontAlgn="base">
                <a:spcBef>
                  <a:spcPct val="0"/>
                </a:spcBef>
                <a:spcAft>
                  <a:spcPct val="0"/>
                </a:spcAft>
                <a:buClr>
                  <a:srgbClr val="44546A"/>
                </a:buClr>
              </a:pPr>
              <a:r>
                <a:rPr lang="en-US" sz="1200">
                  <a:solidFill>
                    <a:prstClr val="black"/>
                  </a:solidFill>
                </a:rPr>
                <a:t>Legend</a:t>
              </a:r>
            </a:p>
          </p:txBody>
        </p:sp>
        <p:sp>
          <p:nvSpPr>
            <p:cNvPr id="69" name="LegendRectangle3"/>
            <p:cNvSpPr>
              <a:spLocks noChangeArrowheads="1"/>
            </p:cNvSpPr>
            <p:nvPr/>
          </p:nvSpPr>
          <p:spPr bwMode="auto">
            <a:xfrm>
              <a:off x="4936" y="524"/>
              <a:ext cx="104" cy="101"/>
            </a:xfrm>
            <a:prstGeom prst="rect">
              <a:avLst/>
            </a:prstGeom>
            <a:solidFill>
              <a:schemeClr val="hlink"/>
            </a:solid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944">
                <a:solidFill>
                  <a:prstClr val="black"/>
                </a:solidFill>
              </a:endParaRPr>
            </a:p>
          </p:txBody>
        </p:sp>
        <p:sp>
          <p:nvSpPr>
            <p:cNvPr id="70" name="Legend4"/>
            <p:cNvSpPr>
              <a:spLocks noChangeArrowheads="1"/>
            </p:cNvSpPr>
            <p:nvPr/>
          </p:nvSpPr>
          <p:spPr bwMode="auto">
            <a:xfrm>
              <a:off x="5096" y="688"/>
              <a:ext cx="283" cy="11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619" fontAlgn="base">
                <a:spcBef>
                  <a:spcPct val="0"/>
                </a:spcBef>
                <a:spcAft>
                  <a:spcPct val="0"/>
                </a:spcAft>
                <a:buClr>
                  <a:srgbClr val="44546A"/>
                </a:buClr>
              </a:pPr>
              <a:r>
                <a:rPr lang="en-US" sz="1200">
                  <a:solidFill>
                    <a:prstClr val="black"/>
                  </a:solidFill>
                </a:rPr>
                <a:t>Legend</a:t>
              </a:r>
            </a:p>
          </p:txBody>
        </p:sp>
        <p:sp>
          <p:nvSpPr>
            <p:cNvPr id="71" name="LegendRectangle4"/>
            <p:cNvSpPr>
              <a:spLocks noChangeArrowheads="1"/>
            </p:cNvSpPr>
            <p:nvPr/>
          </p:nvSpPr>
          <p:spPr bwMode="auto">
            <a:xfrm>
              <a:off x="4936" y="695"/>
              <a:ext cx="104" cy="101"/>
            </a:xfrm>
            <a:prstGeom prst="rect">
              <a:avLst/>
            </a:prstGeom>
            <a:solidFill>
              <a:schemeClr val="folHlink"/>
            </a:solid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944">
                <a:solidFill>
                  <a:prstClr val="black"/>
                </a:solidFill>
              </a:endParaRPr>
            </a:p>
          </p:txBody>
        </p:sp>
      </p:grpSp>
      <p:grpSp>
        <p:nvGrpSpPr>
          <p:cNvPr id="72" name="LegendLines" hidden="1"/>
          <p:cNvGrpSpPr>
            <a:grpSpLocks/>
          </p:cNvGrpSpPr>
          <p:nvPr userDrawn="1"/>
        </p:nvGrpSpPr>
        <p:grpSpPr bwMode="auto">
          <a:xfrm>
            <a:off x="9512454" y="304666"/>
            <a:ext cx="1011240" cy="730251"/>
            <a:chOff x="4750" y="176"/>
            <a:chExt cx="637" cy="460"/>
          </a:xfrm>
        </p:grpSpPr>
        <p:sp>
          <p:nvSpPr>
            <p:cNvPr id="73"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1944">
                <a:solidFill>
                  <a:prstClr val="black"/>
                </a:solidFill>
              </a:endParaRPr>
            </a:p>
          </p:txBody>
        </p:sp>
        <p:sp>
          <p:nvSpPr>
            <p:cNvPr id="74"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1944">
                <a:solidFill>
                  <a:prstClr val="black"/>
                </a:solidFill>
              </a:endParaRPr>
            </a:p>
          </p:txBody>
        </p:sp>
        <p:sp>
          <p:nvSpPr>
            <p:cNvPr id="75"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1944">
                <a:solidFill>
                  <a:prstClr val="black"/>
                </a:solidFill>
              </a:endParaRPr>
            </a:p>
          </p:txBody>
        </p:sp>
        <p:sp>
          <p:nvSpPr>
            <p:cNvPr id="76" name="Legend1"/>
            <p:cNvSpPr>
              <a:spLocks noChangeArrowheads="1"/>
            </p:cNvSpPr>
            <p:nvPr/>
          </p:nvSpPr>
          <p:spPr bwMode="auto">
            <a:xfrm>
              <a:off x="5104" y="176"/>
              <a:ext cx="283"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619" fontAlgn="base">
                <a:spcBef>
                  <a:spcPct val="0"/>
                </a:spcBef>
                <a:spcAft>
                  <a:spcPct val="0"/>
                </a:spcAft>
                <a:buClr>
                  <a:srgbClr val="44546A"/>
                </a:buClr>
              </a:pPr>
              <a:r>
                <a:rPr lang="en-US" sz="1200">
                  <a:solidFill>
                    <a:prstClr val="black"/>
                  </a:solidFill>
                </a:rPr>
                <a:t>Legend</a:t>
              </a:r>
            </a:p>
          </p:txBody>
        </p:sp>
        <p:sp>
          <p:nvSpPr>
            <p:cNvPr id="77" name="Legend2"/>
            <p:cNvSpPr>
              <a:spLocks noChangeArrowheads="1"/>
            </p:cNvSpPr>
            <p:nvPr/>
          </p:nvSpPr>
          <p:spPr bwMode="auto">
            <a:xfrm>
              <a:off x="5104" y="344"/>
              <a:ext cx="283"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619" fontAlgn="base">
                <a:spcBef>
                  <a:spcPct val="0"/>
                </a:spcBef>
                <a:spcAft>
                  <a:spcPct val="0"/>
                </a:spcAft>
                <a:buClr>
                  <a:srgbClr val="44546A"/>
                </a:buClr>
              </a:pPr>
              <a:r>
                <a:rPr lang="en-US" sz="1200">
                  <a:solidFill>
                    <a:prstClr val="black"/>
                  </a:solidFill>
                </a:rPr>
                <a:t>Legend</a:t>
              </a:r>
            </a:p>
          </p:txBody>
        </p:sp>
        <p:sp>
          <p:nvSpPr>
            <p:cNvPr id="78" name="Legend3"/>
            <p:cNvSpPr>
              <a:spLocks noChangeArrowheads="1"/>
            </p:cNvSpPr>
            <p:nvPr/>
          </p:nvSpPr>
          <p:spPr bwMode="auto">
            <a:xfrm>
              <a:off x="5104" y="520"/>
              <a:ext cx="283"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619" fontAlgn="base">
                <a:spcBef>
                  <a:spcPct val="0"/>
                </a:spcBef>
                <a:spcAft>
                  <a:spcPct val="0"/>
                </a:spcAft>
                <a:buClr>
                  <a:srgbClr val="44546A"/>
                </a:buClr>
              </a:pPr>
              <a:r>
                <a:rPr lang="en-US" sz="1200">
                  <a:solidFill>
                    <a:prstClr val="black"/>
                  </a:solidFill>
                </a:rPr>
                <a:t>Legend</a:t>
              </a:r>
            </a:p>
          </p:txBody>
        </p:sp>
      </p:grpSp>
      <p:grpSp>
        <p:nvGrpSpPr>
          <p:cNvPr id="79" name="LegendMoons" hidden="1"/>
          <p:cNvGrpSpPr/>
          <p:nvPr userDrawn="1"/>
        </p:nvGrpSpPr>
        <p:grpSpPr bwMode="auto">
          <a:xfrm>
            <a:off x="9753106" y="304619"/>
            <a:ext cx="769838" cy="1306516"/>
            <a:chOff x="7875175" y="286625"/>
            <a:chExt cx="769837" cy="1306516"/>
          </a:xfrm>
        </p:grpSpPr>
        <p:grpSp>
          <p:nvGrpSpPr>
            <p:cNvPr id="80" name="MoonLegend2"/>
            <p:cNvGrpSpPr>
              <a:grpSpLocks noChangeAspect="1"/>
            </p:cNvGrpSpPr>
            <p:nvPr>
              <p:custDataLst>
                <p:tags r:id="rId16"/>
              </p:custDataLst>
            </p:nvPr>
          </p:nvGrpSpPr>
          <p:grpSpPr bwMode="auto">
            <a:xfrm>
              <a:off x="7875175" y="560866"/>
              <a:ext cx="209550" cy="209551"/>
              <a:chOff x="1694" y="2044"/>
              <a:chExt cx="160" cy="160"/>
            </a:xfrm>
          </p:grpSpPr>
          <p:sp>
            <p:nvSpPr>
              <p:cNvPr id="98" name="Oval 41"/>
              <p:cNvSpPr>
                <a:spLocks noChangeAspect="1" noChangeArrowheads="1"/>
              </p:cNvSpPr>
              <p:nvPr>
                <p:custDataLst>
                  <p:tags r:id="rId29"/>
                </p:custDataLst>
              </p:nvPr>
            </p:nvSpPr>
            <p:spPr bwMode="auto">
              <a:xfrm>
                <a:off x="1694" y="2044"/>
                <a:ext cx="160" cy="160"/>
              </a:xfrm>
              <a:prstGeom prst="ellipse">
                <a:avLst/>
              </a:prstGeom>
              <a:solidFill>
                <a:schemeClr val="accent1"/>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944">
                  <a:solidFill>
                    <a:prstClr val="black"/>
                  </a:solidFill>
                </a:endParaRPr>
              </a:p>
            </p:txBody>
          </p:sp>
          <p:sp>
            <p:nvSpPr>
              <p:cNvPr id="99" name="Arc 42"/>
              <p:cNvSpPr>
                <a:spLocks noChangeAspect="1"/>
              </p:cNvSpPr>
              <p:nvPr>
                <p:custDataLst>
                  <p:tags r:id="rId30"/>
                </p:custDataLst>
              </p:nvPr>
            </p:nvSpPr>
            <p:spPr bwMode="auto">
              <a:xfrm>
                <a:off x="1694" y="2044"/>
                <a:ext cx="160" cy="160"/>
              </a:xfrm>
              <a:prstGeom prst="arc">
                <a:avLst/>
              </a:prstGeom>
              <a:solidFill>
                <a:schemeClr val="folHlink"/>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944">
                  <a:solidFill>
                    <a:prstClr val="black"/>
                  </a:solidFill>
                </a:endParaRPr>
              </a:p>
            </p:txBody>
          </p:sp>
        </p:grpSp>
        <p:grpSp>
          <p:nvGrpSpPr>
            <p:cNvPr id="81" name="MoonLegend4"/>
            <p:cNvGrpSpPr>
              <a:grpSpLocks noChangeAspect="1"/>
            </p:cNvGrpSpPr>
            <p:nvPr>
              <p:custDataLst>
                <p:tags r:id="rId17"/>
              </p:custDataLst>
            </p:nvPr>
          </p:nvGrpSpPr>
          <p:grpSpPr bwMode="auto">
            <a:xfrm>
              <a:off x="7875175" y="1109348"/>
              <a:ext cx="209550" cy="209551"/>
              <a:chOff x="4495" y="1198"/>
              <a:chExt cx="160" cy="160"/>
            </a:xfrm>
          </p:grpSpPr>
          <p:sp>
            <p:nvSpPr>
              <p:cNvPr id="96" name="Oval 47"/>
              <p:cNvSpPr>
                <a:spLocks noChangeAspect="1" noChangeArrowheads="1"/>
              </p:cNvSpPr>
              <p:nvPr>
                <p:custDataLst>
                  <p:tags r:id="rId27"/>
                </p:custDataLst>
              </p:nvPr>
            </p:nvSpPr>
            <p:spPr bwMode="auto">
              <a:xfrm>
                <a:off x="4495" y="1198"/>
                <a:ext cx="160" cy="160"/>
              </a:xfrm>
              <a:prstGeom prst="ellipse">
                <a:avLst/>
              </a:prstGeom>
              <a:solidFill>
                <a:schemeClr val="accent1"/>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944">
                  <a:solidFill>
                    <a:prstClr val="black"/>
                  </a:solidFill>
                </a:endParaRPr>
              </a:p>
            </p:txBody>
          </p:sp>
          <p:sp>
            <p:nvSpPr>
              <p:cNvPr id="97" name="Arc 48"/>
              <p:cNvSpPr>
                <a:spLocks noChangeAspect="1"/>
              </p:cNvSpPr>
              <p:nvPr>
                <p:custDataLst>
                  <p:tags r:id="rId28"/>
                </p:custDataLst>
              </p:nvPr>
            </p:nvSpPr>
            <p:spPr bwMode="auto">
              <a:xfrm>
                <a:off x="4495" y="1198"/>
                <a:ext cx="160" cy="160"/>
              </a:xfrm>
              <a:prstGeom prst="arc">
                <a:avLst>
                  <a:gd name="adj1" fmla="val 16200000"/>
                  <a:gd name="adj2" fmla="val 10800000"/>
                </a:avLst>
              </a:prstGeom>
              <a:solidFill>
                <a:schemeClr val="folHlink"/>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944">
                  <a:solidFill>
                    <a:prstClr val="black"/>
                  </a:solidFill>
                </a:endParaRPr>
              </a:p>
            </p:txBody>
          </p:sp>
        </p:grpSp>
        <p:grpSp>
          <p:nvGrpSpPr>
            <p:cNvPr id="82" name="MoonLegend5"/>
            <p:cNvGrpSpPr>
              <a:grpSpLocks noChangeAspect="1"/>
            </p:cNvGrpSpPr>
            <p:nvPr>
              <p:custDataLst>
                <p:tags r:id="rId18"/>
              </p:custDataLst>
            </p:nvPr>
          </p:nvGrpSpPr>
          <p:grpSpPr bwMode="auto">
            <a:xfrm>
              <a:off x="7875175" y="1383590"/>
              <a:ext cx="209550" cy="209551"/>
              <a:chOff x="4495" y="1440"/>
              <a:chExt cx="160" cy="160"/>
            </a:xfrm>
          </p:grpSpPr>
          <p:sp>
            <p:nvSpPr>
              <p:cNvPr id="94" name="Oval 50"/>
              <p:cNvSpPr>
                <a:spLocks noChangeAspect="1" noChangeArrowheads="1"/>
              </p:cNvSpPr>
              <p:nvPr>
                <p:custDataLst>
                  <p:tags r:id="rId25"/>
                </p:custDataLst>
              </p:nvPr>
            </p:nvSpPr>
            <p:spPr bwMode="auto">
              <a:xfrm>
                <a:off x="4495" y="1440"/>
                <a:ext cx="160" cy="160"/>
              </a:xfrm>
              <a:prstGeom prst="ellipse">
                <a:avLst/>
              </a:prstGeom>
              <a:solidFill>
                <a:schemeClr val="accent1"/>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944">
                  <a:solidFill>
                    <a:prstClr val="black"/>
                  </a:solidFill>
                </a:endParaRPr>
              </a:p>
            </p:txBody>
          </p:sp>
          <p:sp>
            <p:nvSpPr>
              <p:cNvPr id="95" name="Oval 51"/>
              <p:cNvSpPr>
                <a:spLocks noChangeAspect="1" noChangeArrowheads="1"/>
              </p:cNvSpPr>
              <p:nvPr>
                <p:custDataLst>
                  <p:tags r:id="rId26"/>
                </p:custDataLst>
              </p:nvPr>
            </p:nvSpPr>
            <p:spPr bwMode="auto">
              <a:xfrm>
                <a:off x="4495" y="1440"/>
                <a:ext cx="160" cy="160"/>
              </a:xfrm>
              <a:prstGeom prst="arc">
                <a:avLst>
                  <a:gd name="adj1" fmla="val 16200000"/>
                  <a:gd name="adj2" fmla="val 16200000"/>
                </a:avLst>
              </a:prstGeom>
              <a:solidFill>
                <a:schemeClr val="folHlink"/>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944">
                  <a:solidFill>
                    <a:prstClr val="black"/>
                  </a:solidFill>
                </a:endParaRPr>
              </a:p>
            </p:txBody>
          </p:sp>
        </p:grpSp>
        <p:sp>
          <p:nvSpPr>
            <p:cNvPr id="83" name="Legend1"/>
            <p:cNvSpPr>
              <a:spLocks noChangeArrowheads="1"/>
            </p:cNvSpPr>
            <p:nvPr/>
          </p:nvSpPr>
          <p:spPr bwMode="auto">
            <a:xfrm>
              <a:off x="8195850" y="299325"/>
              <a:ext cx="449162" cy="18466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619" fontAlgn="base">
                <a:spcBef>
                  <a:spcPct val="0"/>
                </a:spcBef>
                <a:spcAft>
                  <a:spcPct val="0"/>
                </a:spcAft>
                <a:buClr>
                  <a:srgbClr val="44546A"/>
                </a:buClr>
              </a:pPr>
              <a:r>
                <a:rPr lang="en-US" sz="1200" dirty="0">
                  <a:solidFill>
                    <a:prstClr val="black"/>
                  </a:solidFill>
                </a:rPr>
                <a:t>Legend</a:t>
              </a:r>
            </a:p>
          </p:txBody>
        </p:sp>
        <p:sp>
          <p:nvSpPr>
            <p:cNvPr id="84" name="Legend2"/>
            <p:cNvSpPr>
              <a:spLocks noChangeArrowheads="1"/>
            </p:cNvSpPr>
            <p:nvPr/>
          </p:nvSpPr>
          <p:spPr bwMode="auto">
            <a:xfrm>
              <a:off x="8195849" y="573963"/>
              <a:ext cx="449162" cy="18466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619" fontAlgn="base">
                <a:spcBef>
                  <a:spcPct val="0"/>
                </a:spcBef>
                <a:spcAft>
                  <a:spcPct val="0"/>
                </a:spcAft>
                <a:buClr>
                  <a:srgbClr val="44546A"/>
                </a:buClr>
              </a:pPr>
              <a:r>
                <a:rPr lang="en-US" sz="1200" dirty="0">
                  <a:solidFill>
                    <a:prstClr val="black"/>
                  </a:solidFill>
                </a:rPr>
                <a:t>Legend</a:t>
              </a:r>
            </a:p>
          </p:txBody>
        </p:sp>
        <p:sp>
          <p:nvSpPr>
            <p:cNvPr id="85" name="Legend3"/>
            <p:cNvSpPr>
              <a:spLocks noChangeArrowheads="1"/>
            </p:cNvSpPr>
            <p:nvPr/>
          </p:nvSpPr>
          <p:spPr bwMode="auto">
            <a:xfrm>
              <a:off x="8195849" y="848602"/>
              <a:ext cx="449162" cy="18466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619" fontAlgn="base">
                <a:spcBef>
                  <a:spcPct val="0"/>
                </a:spcBef>
                <a:spcAft>
                  <a:spcPct val="0"/>
                </a:spcAft>
                <a:buClr>
                  <a:srgbClr val="44546A"/>
                </a:buClr>
              </a:pPr>
              <a:r>
                <a:rPr lang="en-US" sz="1200" dirty="0">
                  <a:solidFill>
                    <a:prstClr val="black"/>
                  </a:solidFill>
                </a:rPr>
                <a:t>Legend</a:t>
              </a:r>
            </a:p>
          </p:txBody>
        </p:sp>
        <p:sp>
          <p:nvSpPr>
            <p:cNvPr id="86" name="Legend4"/>
            <p:cNvSpPr>
              <a:spLocks noChangeArrowheads="1"/>
            </p:cNvSpPr>
            <p:nvPr/>
          </p:nvSpPr>
          <p:spPr bwMode="auto">
            <a:xfrm>
              <a:off x="8195849" y="1120065"/>
              <a:ext cx="449162" cy="18466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619" fontAlgn="base">
                <a:spcBef>
                  <a:spcPct val="0"/>
                </a:spcBef>
                <a:spcAft>
                  <a:spcPct val="0"/>
                </a:spcAft>
                <a:buClr>
                  <a:srgbClr val="44546A"/>
                </a:buClr>
              </a:pPr>
              <a:r>
                <a:rPr lang="en-US" sz="1200">
                  <a:solidFill>
                    <a:prstClr val="black"/>
                  </a:solidFill>
                </a:rPr>
                <a:t>Legend</a:t>
              </a:r>
            </a:p>
          </p:txBody>
        </p:sp>
        <p:sp>
          <p:nvSpPr>
            <p:cNvPr id="87" name="Legend5"/>
            <p:cNvSpPr>
              <a:spLocks noChangeArrowheads="1"/>
            </p:cNvSpPr>
            <p:nvPr/>
          </p:nvSpPr>
          <p:spPr bwMode="auto">
            <a:xfrm>
              <a:off x="8195849" y="1396290"/>
              <a:ext cx="449162" cy="18466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619" fontAlgn="base">
                <a:spcBef>
                  <a:spcPct val="0"/>
                </a:spcBef>
                <a:spcAft>
                  <a:spcPct val="0"/>
                </a:spcAft>
                <a:buClr>
                  <a:srgbClr val="44546A"/>
                </a:buClr>
              </a:pPr>
              <a:r>
                <a:rPr lang="en-US" sz="1200" dirty="0">
                  <a:solidFill>
                    <a:prstClr val="black"/>
                  </a:solidFill>
                </a:rPr>
                <a:t>Legend</a:t>
              </a:r>
            </a:p>
          </p:txBody>
        </p:sp>
        <p:grpSp>
          <p:nvGrpSpPr>
            <p:cNvPr id="88" name="MoonLegend3"/>
            <p:cNvGrpSpPr>
              <a:grpSpLocks noChangeAspect="1"/>
            </p:cNvGrpSpPr>
            <p:nvPr>
              <p:custDataLst>
                <p:tags r:id="rId19"/>
              </p:custDataLst>
            </p:nvPr>
          </p:nvGrpSpPr>
          <p:grpSpPr bwMode="auto">
            <a:xfrm>
              <a:off x="7875175" y="835107"/>
              <a:ext cx="209550" cy="209551"/>
              <a:chOff x="4495" y="1198"/>
              <a:chExt cx="160" cy="160"/>
            </a:xfrm>
          </p:grpSpPr>
          <p:sp>
            <p:nvSpPr>
              <p:cNvPr id="92" name="Oval 47"/>
              <p:cNvSpPr>
                <a:spLocks noChangeAspect="1" noChangeArrowheads="1"/>
              </p:cNvSpPr>
              <p:nvPr>
                <p:custDataLst>
                  <p:tags r:id="rId23"/>
                </p:custDataLst>
              </p:nvPr>
            </p:nvSpPr>
            <p:spPr bwMode="auto">
              <a:xfrm>
                <a:off x="4495" y="1198"/>
                <a:ext cx="160" cy="160"/>
              </a:xfrm>
              <a:prstGeom prst="ellipse">
                <a:avLst/>
              </a:prstGeom>
              <a:solidFill>
                <a:schemeClr val="accent1"/>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944">
                  <a:solidFill>
                    <a:prstClr val="black"/>
                  </a:solidFill>
                </a:endParaRPr>
              </a:p>
            </p:txBody>
          </p:sp>
          <p:sp>
            <p:nvSpPr>
              <p:cNvPr id="93" name="Arc 48"/>
              <p:cNvSpPr>
                <a:spLocks noChangeAspect="1"/>
              </p:cNvSpPr>
              <p:nvPr>
                <p:custDataLst>
                  <p:tags r:id="rId24"/>
                </p:custDataLst>
              </p:nvPr>
            </p:nvSpPr>
            <p:spPr bwMode="auto">
              <a:xfrm>
                <a:off x="4495" y="1198"/>
                <a:ext cx="160" cy="160"/>
              </a:xfrm>
              <a:prstGeom prst="arc">
                <a:avLst>
                  <a:gd name="adj1" fmla="val 16200000"/>
                  <a:gd name="adj2" fmla="val 5400000"/>
                </a:avLst>
              </a:prstGeom>
              <a:solidFill>
                <a:schemeClr val="folHlink"/>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944">
                  <a:solidFill>
                    <a:prstClr val="black"/>
                  </a:solidFill>
                </a:endParaRPr>
              </a:p>
            </p:txBody>
          </p:sp>
        </p:grpSp>
        <p:grpSp>
          <p:nvGrpSpPr>
            <p:cNvPr id="89" name="MoonLegend1"/>
            <p:cNvGrpSpPr>
              <a:grpSpLocks noChangeAspect="1"/>
            </p:cNvGrpSpPr>
            <p:nvPr userDrawn="1">
              <p:custDataLst>
                <p:tags r:id="rId20"/>
              </p:custDataLst>
            </p:nvPr>
          </p:nvGrpSpPr>
          <p:grpSpPr bwMode="auto">
            <a:xfrm>
              <a:off x="7875175" y="286625"/>
              <a:ext cx="209550" cy="209551"/>
              <a:chOff x="1694" y="2044"/>
              <a:chExt cx="160" cy="160"/>
            </a:xfrm>
          </p:grpSpPr>
          <p:sp>
            <p:nvSpPr>
              <p:cNvPr id="90" name="Oval 41"/>
              <p:cNvSpPr>
                <a:spLocks noChangeAspect="1" noChangeArrowheads="1"/>
              </p:cNvSpPr>
              <p:nvPr>
                <p:custDataLst>
                  <p:tags r:id="rId21"/>
                </p:custDataLst>
              </p:nvPr>
            </p:nvSpPr>
            <p:spPr bwMode="auto">
              <a:xfrm>
                <a:off x="1694" y="2044"/>
                <a:ext cx="160" cy="160"/>
              </a:xfrm>
              <a:prstGeom prst="ellipse">
                <a:avLst/>
              </a:prstGeom>
              <a:solidFill>
                <a:schemeClr val="accent1"/>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944">
                  <a:solidFill>
                    <a:prstClr val="black"/>
                  </a:solidFill>
                </a:endParaRPr>
              </a:p>
            </p:txBody>
          </p:sp>
          <p:sp>
            <p:nvSpPr>
              <p:cNvPr id="91" name="Arc 42"/>
              <p:cNvSpPr>
                <a:spLocks noChangeAspect="1"/>
              </p:cNvSpPr>
              <p:nvPr>
                <p:custDataLst>
                  <p:tags r:id="rId22"/>
                </p:custDataLst>
              </p:nvPr>
            </p:nvSpPr>
            <p:spPr bwMode="auto">
              <a:xfrm>
                <a:off x="1694" y="2044"/>
                <a:ext cx="160" cy="160"/>
              </a:xfrm>
              <a:prstGeom prst="arc">
                <a:avLst>
                  <a:gd name="adj1" fmla="val 16200000"/>
                  <a:gd name="adj2" fmla="val 5400000"/>
                </a:avLst>
              </a:prstGeom>
              <a:solidFill>
                <a:schemeClr val="folHlink"/>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944">
                  <a:solidFill>
                    <a:prstClr val="black"/>
                  </a:solidFill>
                </a:endParaRPr>
              </a:p>
            </p:txBody>
          </p:sp>
        </p:grpSp>
      </p:grpSp>
      <p:grpSp>
        <p:nvGrpSpPr>
          <p:cNvPr id="100" name="McKSticker" hidden="1"/>
          <p:cNvGrpSpPr/>
          <p:nvPr userDrawn="1"/>
        </p:nvGrpSpPr>
        <p:grpSpPr bwMode="auto">
          <a:xfrm>
            <a:off x="9638120" y="304619"/>
            <a:ext cx="884667" cy="212366"/>
            <a:chOff x="7856110" y="285750"/>
            <a:chExt cx="884665" cy="212366"/>
          </a:xfrm>
        </p:grpSpPr>
        <p:sp>
          <p:nvSpPr>
            <p:cNvPr id="101" name="StickerRectangle"/>
            <p:cNvSpPr>
              <a:spLocks noChangeArrowheads="1"/>
            </p:cNvSpPr>
            <p:nvPr/>
          </p:nvSpPr>
          <p:spPr bwMode="auto">
            <a:xfrm>
              <a:off x="7856110" y="285750"/>
              <a:ext cx="884665" cy="212366"/>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5619" fontAlgn="base">
                <a:spcBef>
                  <a:spcPct val="0"/>
                </a:spcBef>
                <a:spcAft>
                  <a:spcPct val="0"/>
                </a:spcAft>
                <a:buClr>
                  <a:srgbClr val="44546A"/>
                </a:buClr>
              </a:pPr>
              <a:r>
                <a:rPr lang="en-US" sz="1200" dirty="0">
                  <a:solidFill>
                    <a:srgbClr val="808080"/>
                  </a:solidFill>
                </a:rPr>
                <a:t>PRELIMINARY</a:t>
              </a:r>
            </a:p>
          </p:txBody>
        </p:sp>
        <p:cxnSp>
          <p:nvCxnSpPr>
            <p:cNvPr id="102" name="AutoShape 31"/>
            <p:cNvCxnSpPr>
              <a:cxnSpLocks noChangeShapeType="1"/>
              <a:stCxn id="101" idx="2"/>
              <a:endCxn id="101" idx="4"/>
            </p:cNvCxnSpPr>
            <p:nvPr/>
          </p:nvCxnSpPr>
          <p:spPr bwMode="auto">
            <a:xfrm>
              <a:off x="7856110" y="285750"/>
              <a:ext cx="0" cy="212366"/>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103" name="AutoShape 32"/>
            <p:cNvCxnSpPr>
              <a:cxnSpLocks noChangeShapeType="1"/>
              <a:stCxn id="101" idx="4"/>
              <a:endCxn id="101" idx="6"/>
            </p:cNvCxnSpPr>
            <p:nvPr/>
          </p:nvCxnSpPr>
          <p:spPr bwMode="auto">
            <a:xfrm>
              <a:off x="7856110" y="498116"/>
              <a:ext cx="884665"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grpSp>
        <p:nvGrpSpPr>
          <p:cNvPr id="62" name="Moon" hidden="1"/>
          <p:cNvGrpSpPr/>
          <p:nvPr userDrawn="1">
            <p:custDataLst>
              <p:tags r:id="rId15"/>
            </p:custDataLst>
          </p:nvPr>
        </p:nvGrpSpPr>
        <p:grpSpPr>
          <a:xfrm>
            <a:off x="8515925" y="1214424"/>
            <a:ext cx="254000" cy="254000"/>
            <a:chOff x="762000" y="1270000"/>
            <a:chExt cx="254000" cy="254000"/>
          </a:xfrm>
        </p:grpSpPr>
        <p:sp>
          <p:nvSpPr>
            <p:cNvPr id="106" name="Oval 105"/>
            <p:cNvSpPr/>
            <p:nvPr/>
          </p:nvSpPr>
          <p:spPr>
            <a:xfrm>
              <a:off x="762000" y="1270000"/>
              <a:ext cx="254000" cy="254000"/>
            </a:xfrm>
            <a:prstGeom prst="ellipse">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sz="1944" dirty="0" err="1">
                <a:solidFill>
                  <a:prstClr val="black"/>
                </a:solidFill>
              </a:endParaRPr>
            </a:p>
          </p:txBody>
        </p:sp>
        <p:sp>
          <p:nvSpPr>
            <p:cNvPr id="109" name="Arc 108"/>
            <p:cNvSpPr/>
            <p:nvPr/>
          </p:nvSpPr>
          <p:spPr>
            <a:xfrm>
              <a:off x="762000" y="1270000"/>
              <a:ext cx="254000" cy="254000"/>
            </a:xfrm>
            <a:prstGeom prst="arc">
              <a:avLst/>
            </a:prstGeom>
            <a:solidFill>
              <a:schemeClr val="accent4"/>
            </a:solidFill>
            <a:ln>
              <a:noFill/>
            </a:ln>
          </p:spPr>
          <p:style>
            <a:lnRef idx="1">
              <a:schemeClr val="accent1"/>
            </a:lnRef>
            <a:fillRef idx="0">
              <a:schemeClr val="accent1"/>
            </a:fillRef>
            <a:effectRef idx="0">
              <a:schemeClr val="accent1"/>
            </a:effectRef>
            <a:fontRef idx="minor">
              <a:schemeClr val="tx1"/>
            </a:fontRef>
          </p:style>
          <p:txBody>
            <a:bodyPr rtlCol="0" anchor="ctr"/>
            <a:lstStyle/>
            <a:p>
              <a:pPr algn="ctr" fontAlgn="base">
                <a:spcBef>
                  <a:spcPct val="0"/>
                </a:spcBef>
                <a:spcAft>
                  <a:spcPct val="0"/>
                </a:spcAft>
              </a:pPr>
              <a:endParaRPr lang="en-GB" sz="1944">
                <a:solidFill>
                  <a:prstClr val="black"/>
                </a:solidFill>
              </a:endParaRPr>
            </a:p>
          </p:txBody>
        </p:sp>
      </p:grpSp>
    </p:spTree>
    <p:extLst>
      <p:ext uri="{BB962C8B-B14F-4D97-AF65-F5344CB8AC3E}">
        <p14:creationId xmlns:p14="http://schemas.microsoft.com/office/powerpoint/2010/main" val="2847971164"/>
      </p:ext>
    </p:extLst>
  </p:cSld>
  <p:clrMap bg1="lt1" tx1="dk1" bg2="lt2" tx2="dk2" accent1="accent1" accent2="accent2" accent3="accent3" accent4="accent4" accent5="accent5" accent6="accent6" hlink="hlink" folHlink="folHlink"/>
  <p:sldLayoutIdLst>
    <p:sldLayoutId id="2147483662" r:id="rId1"/>
    <p:sldLayoutId id="2147483663" r:id="rId2"/>
    <p:sldLayoutId id="2147483664" r:id="rId3"/>
    <p:sldLayoutId id="2147483665" r:id="rId4"/>
    <p:sldLayoutId id="2147483666" r:id="rId5"/>
    <p:sldLayoutId id="2147483667" r:id="rId6"/>
    <p:sldLayoutId id="2147483668" r:id="rId7"/>
    <p:sldLayoutId id="2147483669" r:id="rId8"/>
    <p:sldLayoutId id="2147483670" r:id="rId9"/>
    <p:sldLayoutId id="2147483671" r:id="rId10"/>
  </p:sldLayoutIdLst>
  <p:hf sldNum="0" hdr="0" ftr="0" dt="0"/>
  <p:txStyles>
    <p:titleStyle>
      <a:lvl1pPr algn="l" defTabSz="913800" rtl="0" eaLnBrk="1" fontAlgn="base" hangingPunct="1">
        <a:spcBef>
          <a:spcPct val="0"/>
        </a:spcBef>
        <a:spcAft>
          <a:spcPct val="0"/>
        </a:spcAft>
        <a:tabLst>
          <a:tab pos="275436" algn="l"/>
        </a:tabLst>
        <a:defRPr lang="en-US" sz="3200" b="1" kern="0" baseline="0" noProof="0" dirty="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vl2pPr algn="l" defTabSz="913800" rtl="0" eaLnBrk="1" fontAlgn="base" hangingPunct="1">
        <a:spcBef>
          <a:spcPct val="0"/>
        </a:spcBef>
        <a:spcAft>
          <a:spcPct val="0"/>
        </a:spcAft>
        <a:defRPr sz="1940" b="1">
          <a:solidFill>
            <a:schemeClr val="tx2"/>
          </a:solidFill>
          <a:latin typeface="Arial" charset="0"/>
        </a:defRPr>
      </a:lvl2pPr>
      <a:lvl3pPr algn="l" defTabSz="913800" rtl="0" eaLnBrk="1" fontAlgn="base" hangingPunct="1">
        <a:spcBef>
          <a:spcPct val="0"/>
        </a:spcBef>
        <a:spcAft>
          <a:spcPct val="0"/>
        </a:spcAft>
        <a:defRPr sz="1940" b="1">
          <a:solidFill>
            <a:schemeClr val="tx2"/>
          </a:solidFill>
          <a:latin typeface="Arial" charset="0"/>
        </a:defRPr>
      </a:lvl3pPr>
      <a:lvl4pPr algn="l" defTabSz="913800" rtl="0" eaLnBrk="1" fontAlgn="base" hangingPunct="1">
        <a:spcBef>
          <a:spcPct val="0"/>
        </a:spcBef>
        <a:spcAft>
          <a:spcPct val="0"/>
        </a:spcAft>
        <a:defRPr sz="1940" b="1">
          <a:solidFill>
            <a:schemeClr val="tx2"/>
          </a:solidFill>
          <a:latin typeface="Arial" charset="0"/>
        </a:defRPr>
      </a:lvl4pPr>
      <a:lvl5pPr algn="l" defTabSz="913800" rtl="0" eaLnBrk="1" fontAlgn="base" hangingPunct="1">
        <a:spcBef>
          <a:spcPct val="0"/>
        </a:spcBef>
        <a:spcAft>
          <a:spcPct val="0"/>
        </a:spcAft>
        <a:defRPr sz="1940" b="1">
          <a:solidFill>
            <a:schemeClr val="tx2"/>
          </a:solidFill>
          <a:latin typeface="Arial" charset="0"/>
        </a:defRPr>
      </a:lvl5pPr>
      <a:lvl6pPr marL="466621" algn="l" defTabSz="913800" rtl="0" eaLnBrk="1" fontAlgn="base" hangingPunct="1">
        <a:spcBef>
          <a:spcPct val="0"/>
        </a:spcBef>
        <a:spcAft>
          <a:spcPct val="0"/>
        </a:spcAft>
        <a:defRPr sz="1940" b="1">
          <a:solidFill>
            <a:schemeClr val="tx2"/>
          </a:solidFill>
          <a:latin typeface="Arial" charset="0"/>
        </a:defRPr>
      </a:lvl6pPr>
      <a:lvl7pPr marL="933242" algn="l" defTabSz="913800" rtl="0" eaLnBrk="1" fontAlgn="base" hangingPunct="1">
        <a:spcBef>
          <a:spcPct val="0"/>
        </a:spcBef>
        <a:spcAft>
          <a:spcPct val="0"/>
        </a:spcAft>
        <a:defRPr sz="1940" b="1">
          <a:solidFill>
            <a:schemeClr val="tx2"/>
          </a:solidFill>
          <a:latin typeface="Arial" charset="0"/>
        </a:defRPr>
      </a:lvl7pPr>
      <a:lvl8pPr marL="1399863" algn="l" defTabSz="913800" rtl="0" eaLnBrk="1" fontAlgn="base" hangingPunct="1">
        <a:spcBef>
          <a:spcPct val="0"/>
        </a:spcBef>
        <a:spcAft>
          <a:spcPct val="0"/>
        </a:spcAft>
        <a:defRPr sz="1940" b="1">
          <a:solidFill>
            <a:schemeClr val="tx2"/>
          </a:solidFill>
          <a:latin typeface="Arial" charset="0"/>
        </a:defRPr>
      </a:lvl8pPr>
      <a:lvl9pPr marL="1866485" algn="l" defTabSz="913800" rtl="0" eaLnBrk="1" fontAlgn="base" hangingPunct="1">
        <a:spcBef>
          <a:spcPct val="0"/>
        </a:spcBef>
        <a:spcAft>
          <a:spcPct val="0"/>
        </a:spcAft>
        <a:defRPr sz="1940" b="1">
          <a:solidFill>
            <a:schemeClr val="tx2"/>
          </a:solidFill>
          <a:latin typeface="Arial" charset="0"/>
        </a:defRPr>
      </a:lvl9pPr>
    </p:titleStyle>
    <p:bodyStyle>
      <a:lvl1pPr marL="0" indent="0" algn="l" defTabSz="913800" rtl="0" eaLnBrk="1" fontAlgn="base" hangingPunct="1">
        <a:spcBef>
          <a:spcPct val="0"/>
        </a:spcBef>
        <a:spcAft>
          <a:spcPct val="0"/>
        </a:spcAft>
        <a:buClr>
          <a:schemeClr val="tx2"/>
        </a:buClr>
        <a:buSzPct val="100000"/>
        <a:defRPr sz="1600" baseline="0">
          <a:solidFill>
            <a:schemeClr val="tx1"/>
          </a:solidFill>
          <a:latin typeface="+mn-lt"/>
          <a:ea typeface="+mn-ea"/>
          <a:cs typeface="+mn-cs"/>
        </a:defRPr>
      </a:lvl1pPr>
      <a:lvl2pPr marL="192082" indent="-196046" algn="l" defTabSz="91380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337" indent="-267335" algn="l" defTabSz="91380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2832" indent="-158781" algn="l" defTabSz="91380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50033" indent="-128054" algn="l" defTabSz="91380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5259" indent="-132858" algn="l" defTabSz="913800"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6pPr>
      <a:lvl7pPr marL="765259" indent="-132858" algn="l" defTabSz="913800"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7pPr>
      <a:lvl8pPr marL="765259" indent="-132858" algn="l" defTabSz="913800"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8pPr>
      <a:lvl9pPr marL="765259" indent="-132858" algn="l" defTabSz="913800"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9pPr>
    </p:bodyStyle>
    <p:otherStyle>
      <a:defPPr>
        <a:defRPr lang="en-US"/>
      </a:defPPr>
      <a:lvl1pPr marL="0" algn="l" defTabSz="933242" rtl="0" eaLnBrk="1" latinLnBrk="0" hangingPunct="1">
        <a:defRPr sz="1838" kern="1200">
          <a:solidFill>
            <a:schemeClr val="tx1"/>
          </a:solidFill>
          <a:latin typeface="+mn-lt"/>
          <a:ea typeface="+mn-ea"/>
          <a:cs typeface="+mn-cs"/>
        </a:defRPr>
      </a:lvl1pPr>
      <a:lvl2pPr marL="466621" algn="l" defTabSz="933242" rtl="0" eaLnBrk="1" latinLnBrk="0" hangingPunct="1">
        <a:defRPr sz="1838" kern="1200">
          <a:solidFill>
            <a:schemeClr val="tx1"/>
          </a:solidFill>
          <a:latin typeface="+mn-lt"/>
          <a:ea typeface="+mn-ea"/>
          <a:cs typeface="+mn-cs"/>
        </a:defRPr>
      </a:lvl2pPr>
      <a:lvl3pPr marL="933242" algn="l" defTabSz="933242" rtl="0" eaLnBrk="1" latinLnBrk="0" hangingPunct="1">
        <a:defRPr sz="1838" kern="1200">
          <a:solidFill>
            <a:schemeClr val="tx1"/>
          </a:solidFill>
          <a:latin typeface="+mn-lt"/>
          <a:ea typeface="+mn-ea"/>
          <a:cs typeface="+mn-cs"/>
        </a:defRPr>
      </a:lvl3pPr>
      <a:lvl4pPr marL="1399863" algn="l" defTabSz="933242" rtl="0" eaLnBrk="1" latinLnBrk="0" hangingPunct="1">
        <a:defRPr sz="1838" kern="1200">
          <a:solidFill>
            <a:schemeClr val="tx1"/>
          </a:solidFill>
          <a:latin typeface="+mn-lt"/>
          <a:ea typeface="+mn-ea"/>
          <a:cs typeface="+mn-cs"/>
        </a:defRPr>
      </a:lvl4pPr>
      <a:lvl5pPr marL="1866485" algn="l" defTabSz="933242" rtl="0" eaLnBrk="1" latinLnBrk="0" hangingPunct="1">
        <a:defRPr sz="1838" kern="1200">
          <a:solidFill>
            <a:schemeClr val="tx1"/>
          </a:solidFill>
          <a:latin typeface="+mn-lt"/>
          <a:ea typeface="+mn-ea"/>
          <a:cs typeface="+mn-cs"/>
        </a:defRPr>
      </a:lvl5pPr>
      <a:lvl6pPr marL="2333106" algn="l" defTabSz="933242" rtl="0" eaLnBrk="1" latinLnBrk="0" hangingPunct="1">
        <a:defRPr sz="1838" kern="1200">
          <a:solidFill>
            <a:schemeClr val="tx1"/>
          </a:solidFill>
          <a:latin typeface="+mn-lt"/>
          <a:ea typeface="+mn-ea"/>
          <a:cs typeface="+mn-cs"/>
        </a:defRPr>
      </a:lvl6pPr>
      <a:lvl7pPr marL="2799727" algn="l" defTabSz="933242" rtl="0" eaLnBrk="1" latinLnBrk="0" hangingPunct="1">
        <a:defRPr sz="1838" kern="1200">
          <a:solidFill>
            <a:schemeClr val="tx1"/>
          </a:solidFill>
          <a:latin typeface="+mn-lt"/>
          <a:ea typeface="+mn-ea"/>
          <a:cs typeface="+mn-cs"/>
        </a:defRPr>
      </a:lvl7pPr>
      <a:lvl8pPr marL="3266348" algn="l" defTabSz="933242" rtl="0" eaLnBrk="1" latinLnBrk="0" hangingPunct="1">
        <a:defRPr sz="1838" kern="1200">
          <a:solidFill>
            <a:schemeClr val="tx1"/>
          </a:solidFill>
          <a:latin typeface="+mn-lt"/>
          <a:ea typeface="+mn-ea"/>
          <a:cs typeface="+mn-cs"/>
        </a:defRPr>
      </a:lvl8pPr>
      <a:lvl9pPr marL="3732969" algn="l" defTabSz="933242" rtl="0" eaLnBrk="1" latinLnBrk="0" hangingPunct="1">
        <a:defRPr sz="1838"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36">
          <p15:clr>
            <a:srgbClr val="F26B43"/>
          </p15:clr>
        </p15:guide>
        <p15:guide id="2" pos="5120">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0" y="274638"/>
            <a:ext cx="109728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609600" y="1600206"/>
            <a:ext cx="10972800" cy="452596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609600" y="6356619"/>
            <a:ext cx="28448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US"/>
          </a:p>
        </p:txBody>
      </p:sp>
      <p:sp>
        <p:nvSpPr>
          <p:cNvPr id="5" name="Footer Placeholder 4"/>
          <p:cNvSpPr>
            <a:spLocks noGrp="1"/>
          </p:cNvSpPr>
          <p:nvPr>
            <p:ph type="ftr" sz="quarter" idx="3"/>
          </p:nvPr>
        </p:nvSpPr>
        <p:spPr>
          <a:xfrm>
            <a:off x="4165600" y="6342971"/>
            <a:ext cx="3860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737601" y="6356619"/>
            <a:ext cx="28448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B6F15528-21DE-4FAA-801E-634DDDAF4B2B}" type="slidenum">
              <a:rPr lang="en-US" smtClean="0"/>
              <a:pPr/>
              <a:t>‹#›</a:t>
            </a:fld>
            <a:endParaRPr lang="en-US"/>
          </a:p>
        </p:txBody>
      </p:sp>
      <p:sp>
        <p:nvSpPr>
          <p:cNvPr id="8" name="TextBox 7"/>
          <p:cNvSpPr txBox="1"/>
          <p:nvPr userDrawn="1"/>
        </p:nvSpPr>
        <p:spPr>
          <a:xfrm>
            <a:off x="-2" y="0"/>
            <a:ext cx="10560559" cy="523220"/>
          </a:xfrm>
          <a:prstGeom prst="rect">
            <a:avLst/>
          </a:prstGeom>
          <a:gradFill flip="none" rotWithShape="1">
            <a:gsLst>
              <a:gs pos="100000">
                <a:srgbClr val="2E873B"/>
              </a:gs>
              <a:gs pos="6000">
                <a:schemeClr val="tx2">
                  <a:lumMod val="75000"/>
                </a:schemeClr>
              </a:gs>
            </a:gsLst>
            <a:lin ang="2700000" scaled="1"/>
            <a:tileRect/>
          </a:gradFill>
        </p:spPr>
        <p:txBody>
          <a:bodyPr wrap="square" rtlCol="0">
            <a:spAutoFit/>
          </a:bodyPr>
          <a:lstStyle/>
          <a:p>
            <a:endParaRPr lang="en-US" sz="2800" b="1" dirty="0">
              <a:solidFill>
                <a:schemeClr val="accent1">
                  <a:lumMod val="50000"/>
                </a:schemeClr>
              </a:solidFill>
              <a:ea typeface="+mj-ea"/>
              <a:cs typeface="Arial" panose="020B0604020202020204" pitchFamily="34" charset="0"/>
            </a:endParaRPr>
          </a:p>
        </p:txBody>
      </p:sp>
      <p:pic>
        <p:nvPicPr>
          <p:cNvPr id="9" name="Picture 8"/>
          <p:cNvPicPr>
            <a:picLocks noChangeAspect="1"/>
          </p:cNvPicPr>
          <p:nvPr userDrawn="1"/>
        </p:nvPicPr>
        <p:blipFill>
          <a:blip r:embed="rId14" cstate="print">
            <a:extLst>
              <a:ext uri="{28A0092B-C50C-407E-A947-70E740481C1C}">
                <a14:useLocalDpi xmlns:a14="http://schemas.microsoft.com/office/drawing/2010/main" val="0"/>
              </a:ext>
            </a:extLst>
          </a:blip>
          <a:stretch>
            <a:fillRect/>
          </a:stretch>
        </p:blipFill>
        <p:spPr>
          <a:xfrm>
            <a:off x="10560558" y="3198"/>
            <a:ext cx="1631442" cy="520022"/>
          </a:xfrm>
          <a:prstGeom prst="rect">
            <a:avLst/>
          </a:prstGeom>
        </p:spPr>
      </p:pic>
      <p:sp>
        <p:nvSpPr>
          <p:cNvPr id="12" name="Right Triangle 11"/>
          <p:cNvSpPr/>
          <p:nvPr userDrawn="1"/>
        </p:nvSpPr>
        <p:spPr>
          <a:xfrm flipH="1">
            <a:off x="0" y="6308737"/>
            <a:ext cx="12192000" cy="549445"/>
          </a:xfrm>
          <a:prstGeom prst="rtTriangle">
            <a:avLst/>
          </a:prstGeom>
          <a:gradFill flip="none" rotWithShape="1">
            <a:gsLst>
              <a:gs pos="0">
                <a:srgbClr val="002060"/>
              </a:gs>
              <a:gs pos="40000">
                <a:srgbClr val="002060"/>
              </a:gs>
              <a:gs pos="80000">
                <a:srgbClr val="339933">
                  <a:lumMod val="100000"/>
                </a:srgbClr>
              </a:gs>
              <a:gs pos="100000">
                <a:srgbClr val="339933"/>
              </a:gs>
            </a:gsLst>
            <a:lin ang="14400000" scaled="0"/>
            <a:tileRect/>
          </a:gradFill>
          <a:ln w="25400" cap="flat" cmpd="sng" algn="ctr">
            <a:noFill/>
            <a:prstDash val="solid"/>
          </a:ln>
          <a:effectLst/>
        </p:spPr>
        <p:txBody>
          <a:bodyPr rtlCol="0" anchor="ctr"/>
          <a:lstStyle/>
          <a:p>
            <a:pPr algn="ctr">
              <a:defRPr/>
            </a:pPr>
            <a:endParaRPr lang="en-US" kern="0">
              <a:solidFill>
                <a:sysClr val="window" lastClr="FFFFFF"/>
              </a:solidFill>
              <a:latin typeface="Calibri"/>
            </a:endParaRPr>
          </a:p>
        </p:txBody>
      </p:sp>
      <p:sp>
        <p:nvSpPr>
          <p:cNvPr id="13" name="TextBox 12"/>
          <p:cNvSpPr txBox="1"/>
          <p:nvPr userDrawn="1"/>
        </p:nvSpPr>
        <p:spPr>
          <a:xfrm>
            <a:off x="8003458" y="6396517"/>
            <a:ext cx="4188542" cy="461665"/>
          </a:xfrm>
          <a:prstGeom prst="rect">
            <a:avLst/>
          </a:prstGeom>
          <a:noFill/>
        </p:spPr>
        <p:txBody>
          <a:bodyPr wrap="square" rtlCol="0">
            <a:spAutoFit/>
          </a:bodyPr>
          <a:lstStyle/>
          <a:p>
            <a:pPr algn="r"/>
            <a:r>
              <a:rPr lang="en-IN" sz="2400" b="1" i="0" dirty="0" err="1">
                <a:solidFill>
                  <a:schemeClr val="bg1"/>
                </a:solidFill>
              </a:rPr>
              <a:t>Maharatna</a:t>
            </a:r>
            <a:r>
              <a:rPr lang="en-IN" sz="2400" b="1" i="0" dirty="0">
                <a:solidFill>
                  <a:schemeClr val="bg1"/>
                </a:solidFill>
              </a:rPr>
              <a:t> CPSE</a:t>
            </a:r>
          </a:p>
        </p:txBody>
      </p:sp>
    </p:spTree>
    <p:extLst>
      <p:ext uri="{BB962C8B-B14F-4D97-AF65-F5344CB8AC3E}">
        <p14:creationId xmlns:p14="http://schemas.microsoft.com/office/powerpoint/2010/main" val="3137142058"/>
      </p:ext>
    </p:extLst>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 id="2147483676" r:id="rId4"/>
    <p:sldLayoutId id="2147483677" r:id="rId5"/>
    <p:sldLayoutId id="2147483678" r:id="rId6"/>
    <p:sldLayoutId id="2147483679" r:id="rId7"/>
    <p:sldLayoutId id="2147483680" r:id="rId8"/>
    <p:sldLayoutId id="2147483681" r:id="rId9"/>
    <p:sldLayoutId id="2147483682" r:id="rId10"/>
    <p:sldLayoutId id="2147483683" r:id="rId11"/>
    <p:sldLayoutId id="2147483684" r:id="rId12"/>
  </p:sldLayoutIdLst>
  <p:hf sldNum="0" hdr="0" ftr="0" dt="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B6F15528-21DE-4FAA-801E-634DDDAF4B2B}" type="slidenum">
              <a:rPr lang="en-US" smtClean="0"/>
              <a:pPr/>
              <a:t>‹#›</a:t>
            </a:fld>
            <a:endParaRPr lang="en-US"/>
          </a:p>
        </p:txBody>
      </p:sp>
    </p:spTree>
    <p:extLst>
      <p:ext uri="{BB962C8B-B14F-4D97-AF65-F5344CB8AC3E}">
        <p14:creationId xmlns:p14="http://schemas.microsoft.com/office/powerpoint/2010/main" val="3937437814"/>
      </p:ext>
    </p:extLst>
  </p:cSld>
  <p:clrMap bg1="lt1" tx1="dk1" bg2="lt2" tx2="dk2" accent1="accent1" accent2="accent2" accent3="accent3" accent4="accent4" accent5="accent5" accent6="accent6" hlink="hlink" folHlink="folHlink"/>
  <p:sldLayoutIdLst>
    <p:sldLayoutId id="2147483686" r:id="rId1"/>
    <p:sldLayoutId id="2147483687" r:id="rId2"/>
    <p:sldLayoutId id="2147483688" r:id="rId3"/>
    <p:sldLayoutId id="2147483689" r:id="rId4"/>
    <p:sldLayoutId id="2147483690" r:id="rId5"/>
    <p:sldLayoutId id="2147483691" r:id="rId6"/>
    <p:sldLayoutId id="2147483692" r:id="rId7"/>
    <p:sldLayoutId id="2147483693" r:id="rId8"/>
    <p:sldLayoutId id="2147483694" r:id="rId9"/>
    <p:sldLayoutId id="2147483695" r:id="rId10"/>
    <p:sldLayoutId id="2147483696" r:id="rId11"/>
    <p:sldLayoutId id="2147483697" r:id="rId12"/>
  </p:sldLayoutIdLst>
  <mc:AlternateContent xmlns:mc="http://schemas.openxmlformats.org/markup-compatibility/2006" xmlns:p14="http://schemas.microsoft.com/office/powerpoint/2010/main">
    <mc:Choice Requires="p14">
      <p:transition spd="slow" p14:dur="1250">
        <p14:switch dir="r"/>
      </p:transition>
    </mc:Choice>
    <mc:Fallback xmlns="">
      <p:transition spd="slow">
        <p:fade/>
      </p:transition>
    </mc:Fallback>
  </mc:AlternateContent>
  <p:hf sldNum="0"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2.xml"/><Relationship Id="rId1" Type="http://schemas.openxmlformats.org/officeDocument/2006/relationships/themeOverride" Target="../theme/themeOverride1.xml"/><Relationship Id="rId4" Type="http://schemas.openxmlformats.org/officeDocument/2006/relationships/image" Target="../media/image6.png"/></Relationships>
</file>

<file path=ppt/slides/_rels/slide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2.xml"/><Relationship Id="rId1" Type="http://schemas.openxmlformats.org/officeDocument/2006/relationships/slideLayout" Target="../slideLayouts/slideLayout17.xml"/></Relationships>
</file>

<file path=ppt/slides/_rels/slide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3.xml"/><Relationship Id="rId1" Type="http://schemas.openxmlformats.org/officeDocument/2006/relationships/slideLayout" Target="../slideLayouts/slideLayout17.xml"/></Relationships>
</file>

<file path=ppt/slides/_rels/slide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4.xml"/><Relationship Id="rId1" Type="http://schemas.openxmlformats.org/officeDocument/2006/relationships/slideLayout" Target="../slideLayouts/slideLayout17.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9.xml"/></Relationships>
</file>

<file path=ppt/slides/slide1.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object 4"/>
          <p:cNvSpPr txBox="1"/>
          <p:nvPr/>
        </p:nvSpPr>
        <p:spPr>
          <a:xfrm>
            <a:off x="141910" y="4277112"/>
            <a:ext cx="12039600" cy="1169551"/>
          </a:xfrm>
          <a:prstGeom prst="rect">
            <a:avLst/>
          </a:prstGeom>
        </p:spPr>
        <p:txBody>
          <a:bodyPr vert="horz" wrap="square" lIns="0" tIns="0" rIns="0" bIns="0" rtlCol="0">
            <a:spAutoFit/>
          </a:bodyPr>
          <a:lstStyle/>
          <a:p>
            <a:pPr marL="12700" lvl="0" algn="ctr">
              <a:defRPr/>
            </a:pPr>
            <a:r>
              <a:rPr lang="en-US" sz="2800" b="1" spc="35" dirty="0">
                <a:solidFill>
                  <a:prstClr val="white"/>
                </a:solidFill>
                <a:latin typeface="Arial"/>
                <a:cs typeface="Arial"/>
              </a:rPr>
              <a:t>POWERGRID Comments on </a:t>
            </a:r>
          </a:p>
          <a:p>
            <a:pPr marL="12700" lvl="0" algn="ctr">
              <a:defRPr/>
            </a:pPr>
            <a:r>
              <a:rPr lang="en-US" sz="2400" b="1" spc="35" dirty="0">
                <a:solidFill>
                  <a:prstClr val="white"/>
                </a:solidFill>
                <a:latin typeface="Arial"/>
                <a:cs typeface="Arial"/>
              </a:rPr>
              <a:t>“Draft Central Electricity Regulatory Commission (Sharing of Inter-State Transmission Charges and Losses) (First Amendment) Regulations,2022 “ </a:t>
            </a:r>
            <a:endParaRPr kumimoji="0" sz="2400" b="0" i="0" u="none" strike="noStrike" kern="1200" cap="none" spc="0" normalizeH="0" baseline="0" noProof="0" dirty="0">
              <a:ln>
                <a:noFill/>
              </a:ln>
              <a:solidFill>
                <a:prstClr val="white"/>
              </a:solidFill>
              <a:effectLst/>
              <a:uLnTx/>
              <a:uFillTx/>
              <a:latin typeface="Arial"/>
              <a:ea typeface="+mn-ea"/>
              <a:cs typeface="Arial"/>
            </a:endParaRPr>
          </a:p>
        </p:txBody>
      </p:sp>
      <p:pic>
        <p:nvPicPr>
          <p:cNvPr id="9" name="Picture 8"/>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905000" y="762000"/>
            <a:ext cx="7848600" cy="2501741"/>
          </a:xfrm>
          <a:prstGeom prst="rect">
            <a:avLst/>
          </a:prstGeom>
        </p:spPr>
      </p:pic>
    </p:spTree>
    <p:extLst>
      <p:ext uri="{BB962C8B-B14F-4D97-AF65-F5344CB8AC3E}">
        <p14:creationId xmlns:p14="http://schemas.microsoft.com/office/powerpoint/2010/main" val="17928671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Picture 1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442931" y="-1"/>
            <a:ext cx="1718589" cy="547801"/>
          </a:xfrm>
          <a:prstGeom prst="rect">
            <a:avLst/>
          </a:prstGeom>
        </p:spPr>
      </p:pic>
      <p:sp>
        <p:nvSpPr>
          <p:cNvPr id="16" name="TextBox 15"/>
          <p:cNvSpPr txBox="1"/>
          <p:nvPr/>
        </p:nvSpPr>
        <p:spPr>
          <a:xfrm>
            <a:off x="-1" y="0"/>
            <a:ext cx="10442932" cy="523220"/>
          </a:xfrm>
          <a:prstGeom prst="rect">
            <a:avLst/>
          </a:prstGeom>
          <a:noFill/>
        </p:spPr>
        <p:txBody>
          <a:bodyPr wrap="square" rtlCol="0">
            <a:spAutoFit/>
          </a:bodyPr>
          <a:lstStyle/>
          <a:p>
            <a:pPr marL="12700" lvl="0" algn="ctr">
              <a:defRPr/>
            </a:pPr>
            <a:r>
              <a:rPr lang="en-US" sz="2800" b="1" spc="35" dirty="0" smtClean="0">
                <a:solidFill>
                  <a:prstClr val="white"/>
                </a:solidFill>
                <a:latin typeface="Book Antiqua" panose="02040602050305030304" pitchFamily="18" charset="0"/>
                <a:cs typeface="Arial"/>
              </a:rPr>
              <a:t>Draft </a:t>
            </a:r>
            <a:r>
              <a:rPr lang="en-US" sz="2800" b="1" spc="35" dirty="0">
                <a:solidFill>
                  <a:prstClr val="white"/>
                </a:solidFill>
                <a:latin typeface="Book Antiqua" panose="02040602050305030304" pitchFamily="18" charset="0"/>
                <a:cs typeface="Arial"/>
              </a:rPr>
              <a:t>CERC </a:t>
            </a:r>
            <a:r>
              <a:rPr lang="en-US" sz="2800" b="1" spc="35" dirty="0" smtClean="0">
                <a:solidFill>
                  <a:prstClr val="white"/>
                </a:solidFill>
                <a:latin typeface="Book Antiqua" panose="02040602050305030304" pitchFamily="18" charset="0"/>
                <a:cs typeface="Arial"/>
              </a:rPr>
              <a:t>Sharing </a:t>
            </a:r>
            <a:r>
              <a:rPr lang="en-US" sz="2800" b="1" spc="35" dirty="0">
                <a:solidFill>
                  <a:prstClr val="white"/>
                </a:solidFill>
                <a:latin typeface="Book Antiqua" panose="02040602050305030304" pitchFamily="18" charset="0"/>
                <a:cs typeface="Arial"/>
              </a:rPr>
              <a:t>Regulations, </a:t>
            </a:r>
            <a:r>
              <a:rPr lang="en-US" sz="2800" b="1" spc="35" dirty="0" smtClean="0">
                <a:solidFill>
                  <a:prstClr val="white"/>
                </a:solidFill>
                <a:latin typeface="Book Antiqua" panose="02040602050305030304" pitchFamily="18" charset="0"/>
                <a:cs typeface="Arial"/>
              </a:rPr>
              <a:t>(First </a:t>
            </a:r>
            <a:r>
              <a:rPr lang="en-US" sz="2800" b="1" spc="35" dirty="0">
                <a:solidFill>
                  <a:prstClr val="white"/>
                </a:solidFill>
                <a:latin typeface="Book Antiqua" panose="02040602050305030304" pitchFamily="18" charset="0"/>
                <a:cs typeface="Arial"/>
              </a:rPr>
              <a:t>Amendment)  </a:t>
            </a:r>
            <a:endParaRPr lang="en-US" sz="2800" dirty="0">
              <a:solidFill>
                <a:prstClr val="white"/>
              </a:solidFill>
              <a:latin typeface="Book Antiqua" panose="02040602050305030304" pitchFamily="18" charset="0"/>
              <a:cs typeface="Arial"/>
            </a:endParaRPr>
          </a:p>
        </p:txBody>
      </p:sp>
      <p:graphicFrame>
        <p:nvGraphicFramePr>
          <p:cNvPr id="4" name="Table 3"/>
          <p:cNvGraphicFramePr>
            <a:graphicFrameLocks noGrp="1"/>
          </p:cNvGraphicFramePr>
          <p:nvPr>
            <p:extLst>
              <p:ext uri="{D42A27DB-BD31-4B8C-83A1-F6EECF244321}">
                <p14:modId xmlns:p14="http://schemas.microsoft.com/office/powerpoint/2010/main" val="3755651457"/>
              </p:ext>
            </p:extLst>
          </p:nvPr>
        </p:nvGraphicFramePr>
        <p:xfrm>
          <a:off x="66675" y="532162"/>
          <a:ext cx="12011025" cy="5775484"/>
        </p:xfrm>
        <a:graphic>
          <a:graphicData uri="http://schemas.openxmlformats.org/drawingml/2006/table">
            <a:tbl>
              <a:tblPr firstCol="1" bandRow="1"/>
              <a:tblGrid>
                <a:gridCol w="3301595">
                  <a:extLst>
                    <a:ext uri="{9D8B030D-6E8A-4147-A177-3AD203B41FA5}">
                      <a16:colId xmlns:a16="http://schemas.microsoft.com/office/drawing/2014/main" val="264560130"/>
                    </a:ext>
                  </a:extLst>
                </a:gridCol>
                <a:gridCol w="3384955">
                  <a:extLst>
                    <a:ext uri="{9D8B030D-6E8A-4147-A177-3AD203B41FA5}">
                      <a16:colId xmlns:a16="http://schemas.microsoft.com/office/drawing/2014/main" val="2756616110"/>
                    </a:ext>
                  </a:extLst>
                </a:gridCol>
                <a:gridCol w="5324475">
                  <a:extLst>
                    <a:ext uri="{9D8B030D-6E8A-4147-A177-3AD203B41FA5}">
                      <a16:colId xmlns:a16="http://schemas.microsoft.com/office/drawing/2014/main" val="1127293257"/>
                    </a:ext>
                  </a:extLst>
                </a:gridCol>
              </a:tblGrid>
              <a:tr h="296513">
                <a:tc>
                  <a:txBody>
                    <a:bodyPr/>
                    <a:lstStyle/>
                    <a:p>
                      <a:pPr marL="457200" marR="0" indent="-457200" algn="ctr">
                        <a:lnSpc>
                          <a:spcPct val="107000"/>
                        </a:lnSpc>
                        <a:spcBef>
                          <a:spcPts val="0"/>
                        </a:spcBef>
                        <a:spcAft>
                          <a:spcPts val="800"/>
                        </a:spcAft>
                      </a:pPr>
                      <a:r>
                        <a:rPr lang="en-IN" sz="1400" b="1" dirty="0">
                          <a:effectLst/>
                          <a:latin typeface="Book Antiqua" panose="02040602050305030304" pitchFamily="18" charset="0"/>
                          <a:ea typeface="Calibri" panose="020F0502020204030204" pitchFamily="34" charset="0"/>
                          <a:cs typeface="Times New Roman" panose="02020603050405020304" pitchFamily="18" charset="0"/>
                        </a:rPr>
                        <a:t>Clause as per existing regulation</a:t>
                      </a:r>
                      <a:endParaRPr lang="en-US" sz="1200" dirty="0">
                        <a:effectLst/>
                        <a:latin typeface="Calibri" panose="020F0502020204030204" pitchFamily="34" charset="0"/>
                        <a:ea typeface="Calibri" panose="020F0502020204030204" pitchFamily="34" charset="0"/>
                        <a:cs typeface="Mangal" panose="02040503050203030202"/>
                      </a:endParaRPr>
                    </a:p>
                  </a:txBody>
                  <a:tcPr marL="38683" marR="3868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3">
                        <a:lumMod val="20000"/>
                        <a:lumOff val="80000"/>
                      </a:schemeClr>
                    </a:solidFill>
                  </a:tcPr>
                </a:tc>
                <a:tc>
                  <a:txBody>
                    <a:bodyPr/>
                    <a:lstStyle/>
                    <a:p>
                      <a:pPr marL="457200" marR="0" indent="-457200" algn="ctr">
                        <a:lnSpc>
                          <a:spcPct val="107000"/>
                        </a:lnSpc>
                        <a:spcBef>
                          <a:spcPts val="0"/>
                        </a:spcBef>
                        <a:spcAft>
                          <a:spcPts val="800"/>
                        </a:spcAft>
                      </a:pPr>
                      <a:r>
                        <a:rPr lang="en-IN" sz="1400" b="1" dirty="0">
                          <a:effectLst/>
                          <a:latin typeface="Book Antiqua" panose="02040602050305030304" pitchFamily="18" charset="0"/>
                          <a:ea typeface="Calibri" panose="020F0502020204030204" pitchFamily="34" charset="0"/>
                          <a:cs typeface="Times New Roman" panose="02020603050405020304" pitchFamily="18" charset="0"/>
                        </a:rPr>
                        <a:t>Changes proposed in draft Amendment</a:t>
                      </a:r>
                      <a:endParaRPr lang="en-US" sz="1200" dirty="0">
                        <a:effectLst/>
                        <a:latin typeface="Calibri" panose="020F0502020204030204" pitchFamily="34" charset="0"/>
                        <a:ea typeface="Calibri" panose="020F0502020204030204" pitchFamily="34" charset="0"/>
                        <a:cs typeface="Mangal" panose="02040503050203030202"/>
                      </a:endParaRPr>
                    </a:p>
                  </a:txBody>
                  <a:tcPr marL="38683" marR="3868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3">
                        <a:lumMod val="20000"/>
                        <a:lumOff val="80000"/>
                      </a:schemeClr>
                    </a:solidFill>
                  </a:tcPr>
                </a:tc>
                <a:tc>
                  <a:txBody>
                    <a:bodyPr/>
                    <a:lstStyle/>
                    <a:p>
                      <a:pPr marL="457200" marR="0" indent="-457200" algn="ctr">
                        <a:lnSpc>
                          <a:spcPct val="107000"/>
                        </a:lnSpc>
                        <a:spcBef>
                          <a:spcPts val="0"/>
                        </a:spcBef>
                        <a:spcAft>
                          <a:spcPts val="800"/>
                        </a:spcAft>
                      </a:pPr>
                      <a:r>
                        <a:rPr lang="en-IN" sz="1400" b="1" dirty="0">
                          <a:effectLst/>
                          <a:latin typeface="Book Antiqua" panose="02040602050305030304" pitchFamily="18" charset="0"/>
                          <a:ea typeface="Calibri" panose="020F0502020204030204" pitchFamily="34" charset="0"/>
                          <a:cs typeface="Times New Roman" panose="02020603050405020304" pitchFamily="18" charset="0"/>
                        </a:rPr>
                        <a:t>POWERGRID Comment</a:t>
                      </a:r>
                      <a:endParaRPr lang="en-US" sz="1200" dirty="0">
                        <a:effectLst/>
                        <a:latin typeface="Calibri" panose="020F0502020204030204" pitchFamily="34" charset="0"/>
                        <a:ea typeface="Calibri" panose="020F0502020204030204" pitchFamily="34" charset="0"/>
                        <a:cs typeface="Mangal" panose="02040503050203030202"/>
                      </a:endParaRPr>
                    </a:p>
                  </a:txBody>
                  <a:tcPr marL="38683" marR="3868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3">
                        <a:lumMod val="20000"/>
                        <a:lumOff val="80000"/>
                      </a:schemeClr>
                    </a:solidFill>
                  </a:tcPr>
                </a:tc>
                <a:extLst>
                  <a:ext uri="{0D108BD9-81ED-4DB2-BD59-A6C34878D82A}">
                    <a16:rowId xmlns:a16="http://schemas.microsoft.com/office/drawing/2014/main" val="324146772"/>
                  </a:ext>
                </a:extLst>
              </a:tr>
              <a:tr h="5341353">
                <a:tc>
                  <a:txBody>
                    <a:bodyPr/>
                    <a:lstStyle/>
                    <a:p>
                      <a:pPr marL="0" marR="0" algn="ctr">
                        <a:lnSpc>
                          <a:spcPct val="107000"/>
                        </a:lnSpc>
                        <a:spcBef>
                          <a:spcPts val="0"/>
                        </a:spcBef>
                        <a:spcAft>
                          <a:spcPts val="0"/>
                        </a:spcAft>
                      </a:pPr>
                      <a:r>
                        <a:rPr lang="en-IN" sz="1400" b="1" i="1" dirty="0">
                          <a:effectLst/>
                          <a:latin typeface="Book Antiqua" panose="02040602050305030304" pitchFamily="18" charset="0"/>
                          <a:ea typeface="Calibri" panose="020F0502020204030204" pitchFamily="34" charset="0"/>
                          <a:cs typeface="Times New Roman" panose="02020603050405020304" pitchFamily="18" charset="0"/>
                        </a:rPr>
                        <a:t>13. Treatment of transmission charges and losses in specific </a:t>
                      </a:r>
                      <a:r>
                        <a:rPr lang="en-IN" sz="1400" b="1" i="1" dirty="0" smtClean="0">
                          <a:effectLst/>
                          <a:latin typeface="Book Antiqua" panose="02040602050305030304" pitchFamily="18" charset="0"/>
                          <a:ea typeface="Calibri" panose="020F0502020204030204" pitchFamily="34" charset="0"/>
                          <a:cs typeface="Times New Roman" panose="02020603050405020304" pitchFamily="18" charset="0"/>
                        </a:rPr>
                        <a:t>cases</a:t>
                      </a:r>
                    </a:p>
                    <a:p>
                      <a:pPr marL="0" marR="0" algn="ctr">
                        <a:lnSpc>
                          <a:spcPct val="107000"/>
                        </a:lnSpc>
                        <a:spcBef>
                          <a:spcPts val="0"/>
                        </a:spcBef>
                        <a:spcAft>
                          <a:spcPts val="0"/>
                        </a:spcAft>
                      </a:pPr>
                      <a:endParaRPr lang="en-US" sz="1200" dirty="0">
                        <a:effectLst/>
                        <a:latin typeface="Calibri" panose="020F0502020204030204" pitchFamily="34" charset="0"/>
                        <a:ea typeface="Calibri" panose="020F0502020204030204" pitchFamily="34" charset="0"/>
                        <a:cs typeface="Mangal" panose="02040503050203030202"/>
                      </a:endParaRPr>
                    </a:p>
                    <a:p>
                      <a:pPr marL="0" marR="0" algn="just">
                        <a:lnSpc>
                          <a:spcPct val="107000"/>
                        </a:lnSpc>
                        <a:spcBef>
                          <a:spcPts val="0"/>
                        </a:spcBef>
                        <a:spcAft>
                          <a:spcPts val="0"/>
                        </a:spcAft>
                      </a:pPr>
                      <a:r>
                        <a:rPr lang="en-IN" sz="1400" i="1" dirty="0">
                          <a:effectLst/>
                          <a:latin typeface="Book Antiqua" panose="02040602050305030304" pitchFamily="18" charset="0"/>
                          <a:ea typeface="Calibri" panose="020F0502020204030204" pitchFamily="34" charset="0"/>
                          <a:cs typeface="Times New Roman" panose="02020603050405020304" pitchFamily="18" charset="0"/>
                        </a:rPr>
                        <a:t>(8) In case a generating station or unit(s) thereof has achieved COD and the Associated Transmission System is delayed, the concerned inter-State transmission licensee(s) shall make alternate arrangement at its own cost for despatch of power of the generating station or unit(s) thereof in consultation with the Central Transmission Utility:</a:t>
                      </a:r>
                      <a:endParaRPr lang="en-US" sz="1200" dirty="0">
                        <a:effectLst/>
                        <a:latin typeface="Calibri" panose="020F0502020204030204" pitchFamily="34" charset="0"/>
                        <a:ea typeface="Calibri" panose="020F0502020204030204" pitchFamily="34" charset="0"/>
                        <a:cs typeface="Mangal" panose="02040503050203030202"/>
                      </a:endParaRPr>
                    </a:p>
                    <a:p>
                      <a:pPr marL="0" marR="0" algn="just">
                        <a:lnSpc>
                          <a:spcPct val="107000"/>
                        </a:lnSpc>
                        <a:spcBef>
                          <a:spcPts val="0"/>
                        </a:spcBef>
                        <a:spcAft>
                          <a:spcPts val="0"/>
                        </a:spcAft>
                      </a:pPr>
                      <a:r>
                        <a:rPr lang="en-IN" sz="1400" i="1" dirty="0">
                          <a:effectLst/>
                          <a:latin typeface="Book Antiqua" panose="02040602050305030304" pitchFamily="18" charset="0"/>
                          <a:ea typeface="Calibri" panose="020F0502020204030204" pitchFamily="34" charset="0"/>
                          <a:cs typeface="Times New Roman" panose="02020603050405020304" pitchFamily="18" charset="0"/>
                        </a:rPr>
                        <a:t> </a:t>
                      </a:r>
                      <a:endParaRPr lang="en-US" sz="1200" dirty="0">
                        <a:effectLst/>
                        <a:latin typeface="Calibri" panose="020F0502020204030204" pitchFamily="34" charset="0"/>
                        <a:ea typeface="Calibri" panose="020F0502020204030204" pitchFamily="34" charset="0"/>
                        <a:cs typeface="Mangal" panose="02040503050203030202"/>
                      </a:endParaRPr>
                    </a:p>
                    <a:p>
                      <a:pPr marL="0" marR="0" algn="just">
                        <a:lnSpc>
                          <a:spcPct val="107000"/>
                        </a:lnSpc>
                        <a:spcBef>
                          <a:spcPts val="0"/>
                        </a:spcBef>
                        <a:spcAft>
                          <a:spcPts val="0"/>
                        </a:spcAft>
                      </a:pPr>
                      <a:r>
                        <a:rPr lang="en-IN" sz="1400" i="1" dirty="0">
                          <a:effectLst/>
                          <a:latin typeface="Book Antiqua" panose="02040602050305030304" pitchFamily="18" charset="0"/>
                          <a:ea typeface="Calibri" panose="020F0502020204030204" pitchFamily="34" charset="0"/>
                          <a:cs typeface="Times New Roman" panose="02020603050405020304" pitchFamily="18" charset="0"/>
                        </a:rPr>
                        <a:t>Provided that till such alternate arrangement is made, the inter-State transmission licensee(s) shall pay to the generating station, the Yearly Transmission Charge corresponding to the quantum of Long Term Access for the period for which the transmission system has got delayed.</a:t>
                      </a:r>
                      <a:endParaRPr lang="en-US" sz="1200" dirty="0">
                        <a:effectLst/>
                        <a:latin typeface="Calibri" panose="020F0502020204030204" pitchFamily="34" charset="0"/>
                        <a:ea typeface="Calibri" panose="020F0502020204030204" pitchFamily="34" charset="0"/>
                        <a:cs typeface="Mangal" panose="02040503050203030202"/>
                      </a:endParaRPr>
                    </a:p>
                  </a:txBody>
                  <a:tcPr marL="38683" marR="3868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lvl="0" indent="0" algn="ctr" defTabSz="914400" rtl="0" eaLnBrk="1" fontAlgn="auto" latinLnBrk="0" hangingPunct="1">
                        <a:lnSpc>
                          <a:spcPct val="107000"/>
                        </a:lnSpc>
                        <a:spcBef>
                          <a:spcPts val="0"/>
                        </a:spcBef>
                        <a:spcAft>
                          <a:spcPts val="0"/>
                        </a:spcAft>
                        <a:buClrTx/>
                        <a:buSzTx/>
                        <a:buFontTx/>
                        <a:buNone/>
                        <a:tabLst/>
                        <a:defRPr/>
                      </a:pPr>
                      <a:r>
                        <a:rPr lang="en-IN" sz="1400" i="1" dirty="0">
                          <a:effectLst/>
                          <a:latin typeface="Book Antiqua" panose="02040602050305030304" pitchFamily="18" charset="0"/>
                          <a:ea typeface="Calibri" panose="020F0502020204030204" pitchFamily="34" charset="0"/>
                          <a:cs typeface="Times New Roman" panose="02020603050405020304" pitchFamily="18" charset="0"/>
                        </a:rPr>
                        <a:t> </a:t>
                      </a:r>
                      <a:r>
                        <a:rPr lang="en-IN" sz="1400" b="1" i="1" dirty="0" smtClean="0">
                          <a:effectLst/>
                          <a:latin typeface="Book Antiqua" panose="02040602050305030304" pitchFamily="18" charset="0"/>
                          <a:ea typeface="Calibri" panose="020F0502020204030204" pitchFamily="34" charset="0"/>
                          <a:cs typeface="Times New Roman" panose="02020603050405020304" pitchFamily="18" charset="0"/>
                        </a:rPr>
                        <a:t>13. Treatment of transmission charges and losses in specific cases</a:t>
                      </a:r>
                    </a:p>
                    <a:p>
                      <a:pPr marL="0" marR="0" algn="just">
                        <a:lnSpc>
                          <a:spcPct val="107000"/>
                        </a:lnSpc>
                        <a:spcBef>
                          <a:spcPts val="0"/>
                        </a:spcBef>
                        <a:spcAft>
                          <a:spcPts val="0"/>
                        </a:spcAft>
                      </a:pPr>
                      <a:endParaRPr lang="en-US" sz="1200" dirty="0">
                        <a:effectLst/>
                        <a:latin typeface="Calibri" panose="020F0502020204030204" pitchFamily="34" charset="0"/>
                        <a:ea typeface="Calibri" panose="020F0502020204030204" pitchFamily="34" charset="0"/>
                        <a:cs typeface="Mangal" panose="02040503050203030202"/>
                      </a:endParaRPr>
                    </a:p>
                    <a:p>
                      <a:pPr marL="0" marR="0" algn="just">
                        <a:lnSpc>
                          <a:spcPct val="107000"/>
                        </a:lnSpc>
                        <a:spcBef>
                          <a:spcPts val="0"/>
                        </a:spcBef>
                        <a:spcAft>
                          <a:spcPts val="0"/>
                        </a:spcAft>
                      </a:pPr>
                      <a:r>
                        <a:rPr lang="en-IN" sz="1400" i="1" dirty="0">
                          <a:effectLst/>
                          <a:latin typeface="Book Antiqua" panose="02040602050305030304" pitchFamily="18" charset="0"/>
                          <a:ea typeface="Calibri" panose="020F0502020204030204" pitchFamily="34" charset="0"/>
                          <a:cs typeface="Times New Roman" panose="02020603050405020304" pitchFamily="18" charset="0"/>
                        </a:rPr>
                        <a:t> (8) In case a generating station or unit(s) thereof has achieved COD and the Associated Transmission System is delayed, the concerned inter-State transmission licensee(s) shall make alternate arrangement at its own cost for despatch of power of the generating station or unit(s) thereof in consultation with the Central Transmission Utility:</a:t>
                      </a:r>
                      <a:endParaRPr lang="en-US" sz="1400" dirty="0">
                        <a:effectLst/>
                        <a:latin typeface="Calibri" panose="020F0502020204030204" pitchFamily="34" charset="0"/>
                        <a:ea typeface="Calibri" panose="020F0502020204030204" pitchFamily="34" charset="0"/>
                        <a:cs typeface="Mangal" panose="02040503050203030202"/>
                      </a:endParaRPr>
                    </a:p>
                    <a:p>
                      <a:pPr marL="0" marR="0" algn="just">
                        <a:lnSpc>
                          <a:spcPct val="107000"/>
                        </a:lnSpc>
                        <a:spcBef>
                          <a:spcPts val="0"/>
                        </a:spcBef>
                        <a:spcAft>
                          <a:spcPts val="0"/>
                        </a:spcAft>
                      </a:pPr>
                      <a:r>
                        <a:rPr lang="en-IN" sz="1400" i="1" dirty="0">
                          <a:effectLst/>
                          <a:latin typeface="Book Antiqua" panose="02040602050305030304" pitchFamily="18" charset="0"/>
                          <a:ea typeface="Calibri" panose="020F0502020204030204" pitchFamily="34" charset="0"/>
                          <a:cs typeface="Times New Roman" panose="02020603050405020304" pitchFamily="18" charset="0"/>
                        </a:rPr>
                        <a:t> </a:t>
                      </a:r>
                      <a:endParaRPr lang="en-US" sz="1200" dirty="0">
                        <a:effectLst/>
                        <a:latin typeface="Calibri" panose="020F0502020204030204" pitchFamily="34" charset="0"/>
                        <a:ea typeface="Calibri" panose="020F0502020204030204" pitchFamily="34" charset="0"/>
                        <a:cs typeface="Mangal" panose="02040503050203030202"/>
                      </a:endParaRPr>
                    </a:p>
                    <a:p>
                      <a:pPr marL="0" marR="0" algn="just">
                        <a:lnSpc>
                          <a:spcPct val="107000"/>
                        </a:lnSpc>
                        <a:spcBef>
                          <a:spcPts val="0"/>
                        </a:spcBef>
                        <a:spcAft>
                          <a:spcPts val="0"/>
                        </a:spcAft>
                      </a:pPr>
                      <a:r>
                        <a:rPr lang="en-IN" sz="1400" i="1" dirty="0">
                          <a:effectLst/>
                          <a:latin typeface="Book Antiqua" panose="02040602050305030304" pitchFamily="18" charset="0"/>
                          <a:ea typeface="Calibri" panose="020F0502020204030204" pitchFamily="34" charset="0"/>
                          <a:cs typeface="Times New Roman" panose="02020603050405020304" pitchFamily="18" charset="0"/>
                        </a:rPr>
                        <a:t>Provided that till such alternate arrangement is made, the inter-State transmission licensee(s) shall pay to the generating station, the Yearly Transmission Charge corresponding to the quantum of </a:t>
                      </a:r>
                      <a:r>
                        <a:rPr lang="en-IN" sz="1400" i="1" strike="sngStrike" dirty="0">
                          <a:solidFill>
                            <a:srgbClr val="FF0000"/>
                          </a:solidFill>
                          <a:effectLst/>
                          <a:latin typeface="Book Antiqua" panose="02040602050305030304" pitchFamily="18" charset="0"/>
                          <a:ea typeface="Calibri" panose="020F0502020204030204" pitchFamily="34" charset="0"/>
                          <a:cs typeface="Times New Roman" panose="02020603050405020304" pitchFamily="18" charset="0"/>
                        </a:rPr>
                        <a:t>Long Term Access</a:t>
                      </a:r>
                      <a:r>
                        <a:rPr lang="en-IN" sz="1400" i="1" dirty="0">
                          <a:solidFill>
                            <a:srgbClr val="FF0000"/>
                          </a:solidFill>
                          <a:effectLst/>
                          <a:latin typeface="Book Antiqua" panose="02040602050305030304" pitchFamily="18" charset="0"/>
                          <a:ea typeface="Calibri" panose="020F0502020204030204" pitchFamily="34" charset="0"/>
                          <a:cs typeface="Times New Roman" panose="02020603050405020304" pitchFamily="18" charset="0"/>
                        </a:rPr>
                        <a:t> Connectivity </a:t>
                      </a:r>
                      <a:r>
                        <a:rPr lang="en-IN" sz="1400" i="1" dirty="0">
                          <a:effectLst/>
                          <a:latin typeface="Book Antiqua" panose="02040602050305030304" pitchFamily="18" charset="0"/>
                          <a:ea typeface="Calibri" panose="020F0502020204030204" pitchFamily="34" charset="0"/>
                          <a:cs typeface="Times New Roman" panose="02020603050405020304" pitchFamily="18" charset="0"/>
                        </a:rPr>
                        <a:t>for the period for which the transmission system has got delayed.</a:t>
                      </a:r>
                      <a:endParaRPr lang="en-US" sz="1200" dirty="0">
                        <a:effectLst/>
                        <a:latin typeface="Calibri" panose="020F0502020204030204" pitchFamily="34" charset="0"/>
                        <a:ea typeface="Calibri" panose="020F0502020204030204" pitchFamily="34" charset="0"/>
                        <a:cs typeface="Mangal" panose="02040503050203030202"/>
                      </a:endParaRPr>
                    </a:p>
                  </a:txBody>
                  <a:tcPr marL="38683" marR="3868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just">
                        <a:lnSpc>
                          <a:spcPct val="107000"/>
                        </a:lnSpc>
                        <a:spcBef>
                          <a:spcPts val="0"/>
                        </a:spcBef>
                        <a:spcAft>
                          <a:spcPts val="0"/>
                        </a:spcAft>
                      </a:pPr>
                      <a:r>
                        <a:rPr lang="en-IN" sz="1400" dirty="0">
                          <a:effectLst/>
                          <a:latin typeface="Book Antiqua" panose="02040602050305030304" pitchFamily="18" charset="0"/>
                          <a:ea typeface="Calibri" panose="020F0502020204030204" pitchFamily="34" charset="0"/>
                          <a:cs typeface="Times New Roman" panose="02020603050405020304" pitchFamily="18" charset="0"/>
                        </a:rPr>
                        <a:t>Coordination for development of ISTS system is done by CTU. In case of delay of their transmission system, Inter-State transmission licensee(s) may not be aware of the quantum of power required to be evacuated through such alternate arrangement. Further, the transmission licensee shall not be able to plan the required alternate arrangement. Transmission licensee can only implement such alternate arrangement which is planned by CTU. Therefore following is proposed ;</a:t>
                      </a:r>
                      <a:endParaRPr lang="en-US" sz="1200" dirty="0">
                        <a:effectLst/>
                        <a:latin typeface="Calibri" panose="020F0502020204030204" pitchFamily="34" charset="0"/>
                        <a:ea typeface="Calibri" panose="020F0502020204030204" pitchFamily="34" charset="0"/>
                        <a:cs typeface="Mangal" panose="02040503050203030202"/>
                      </a:endParaRPr>
                    </a:p>
                    <a:p>
                      <a:pPr marL="0" marR="0" algn="just">
                        <a:lnSpc>
                          <a:spcPct val="107000"/>
                        </a:lnSpc>
                        <a:spcBef>
                          <a:spcPts val="0"/>
                        </a:spcBef>
                        <a:spcAft>
                          <a:spcPts val="0"/>
                        </a:spcAft>
                      </a:pPr>
                      <a:r>
                        <a:rPr lang="en-IN" sz="1400" dirty="0">
                          <a:effectLst/>
                          <a:latin typeface="Book Antiqua" panose="02040602050305030304" pitchFamily="18" charset="0"/>
                          <a:ea typeface="Calibri" panose="020F0502020204030204" pitchFamily="34" charset="0"/>
                          <a:cs typeface="Times New Roman" panose="02020603050405020304" pitchFamily="18" charset="0"/>
                        </a:rPr>
                        <a:t> </a:t>
                      </a:r>
                      <a:endParaRPr lang="en-US" sz="1200" dirty="0">
                        <a:effectLst/>
                        <a:latin typeface="Calibri" panose="020F0502020204030204" pitchFamily="34" charset="0"/>
                        <a:ea typeface="Calibri" panose="020F0502020204030204" pitchFamily="34" charset="0"/>
                        <a:cs typeface="Mangal" panose="02040503050203030202"/>
                      </a:endParaRPr>
                    </a:p>
                    <a:p>
                      <a:pPr marL="0" marR="0" algn="just">
                        <a:lnSpc>
                          <a:spcPct val="107000"/>
                        </a:lnSpc>
                        <a:spcBef>
                          <a:spcPts val="0"/>
                        </a:spcBef>
                        <a:spcAft>
                          <a:spcPts val="0"/>
                        </a:spcAft>
                      </a:pPr>
                      <a:r>
                        <a:rPr lang="en-IN" sz="1500" i="1" dirty="0">
                          <a:effectLst/>
                          <a:latin typeface="Book Antiqua" panose="02040602050305030304" pitchFamily="18" charset="0"/>
                          <a:ea typeface="Calibri" panose="020F0502020204030204" pitchFamily="34" charset="0"/>
                          <a:cs typeface="Times New Roman" panose="02020603050405020304" pitchFamily="18" charset="0"/>
                        </a:rPr>
                        <a:t>(8) In case a generating station or unit(s) thereof has achieved COD and the Associated Transmission System is delayed, </a:t>
                      </a:r>
                      <a:r>
                        <a:rPr lang="en-US" sz="1500" i="1" dirty="0">
                          <a:solidFill>
                            <a:srgbClr val="2F5496"/>
                          </a:solidFill>
                          <a:effectLst/>
                          <a:latin typeface="Book Antiqua" panose="02040602050305030304" pitchFamily="18" charset="0"/>
                          <a:ea typeface="Calibri" panose="020F0502020204030204" pitchFamily="34" charset="0"/>
                          <a:cs typeface="Times New Roman" panose="02020603050405020304" pitchFamily="18" charset="0"/>
                        </a:rPr>
                        <a:t>CTU in consultation with concerned inter-State transmission licensee(s) and  generating station utility shall plan</a:t>
                      </a:r>
                      <a:r>
                        <a:rPr lang="en-US" sz="1500" i="1" dirty="0">
                          <a:effectLst/>
                          <a:latin typeface="Book Antiqua" panose="02040602050305030304" pitchFamily="18" charset="0"/>
                          <a:ea typeface="Calibri" panose="020F0502020204030204" pitchFamily="34" charset="0"/>
                          <a:cs typeface="Times New Roman" panose="02020603050405020304" pitchFamily="18" charset="0"/>
                        </a:rPr>
                        <a:t> </a:t>
                      </a:r>
                      <a:r>
                        <a:rPr lang="en-IN" sz="1500" i="1" strike="sngStrike" dirty="0">
                          <a:solidFill>
                            <a:srgbClr val="5B9BD5"/>
                          </a:solidFill>
                          <a:effectLst/>
                          <a:latin typeface="Book Antiqua" panose="02040602050305030304" pitchFamily="18" charset="0"/>
                          <a:ea typeface="Calibri" panose="020F0502020204030204" pitchFamily="34" charset="0"/>
                          <a:cs typeface="Times New Roman" panose="02020603050405020304" pitchFamily="18" charset="0"/>
                        </a:rPr>
                        <a:t>the concerned shall make</a:t>
                      </a:r>
                      <a:r>
                        <a:rPr lang="en-IN" sz="1500" i="1" dirty="0">
                          <a:solidFill>
                            <a:srgbClr val="5B9BD5"/>
                          </a:solidFill>
                          <a:effectLst/>
                          <a:latin typeface="Book Antiqua" panose="02040602050305030304" pitchFamily="18" charset="0"/>
                          <a:ea typeface="Calibri" panose="020F0502020204030204" pitchFamily="34" charset="0"/>
                          <a:cs typeface="Times New Roman" panose="02020603050405020304" pitchFamily="18" charset="0"/>
                        </a:rPr>
                        <a:t> </a:t>
                      </a:r>
                      <a:r>
                        <a:rPr lang="en-US" sz="1500" i="1" dirty="0">
                          <a:solidFill>
                            <a:srgbClr val="2F5496"/>
                          </a:solidFill>
                          <a:effectLst/>
                          <a:latin typeface="Book Antiqua" panose="02040602050305030304" pitchFamily="18" charset="0"/>
                          <a:ea typeface="Calibri" panose="020F0502020204030204" pitchFamily="34" charset="0"/>
                          <a:cs typeface="Times New Roman" panose="02020603050405020304" pitchFamily="18" charset="0"/>
                        </a:rPr>
                        <a:t>alternate arrangement</a:t>
                      </a:r>
                      <a:r>
                        <a:rPr lang="en-US" sz="1500" i="1" dirty="0">
                          <a:solidFill>
                            <a:srgbClr val="5B9BD5"/>
                          </a:solidFill>
                          <a:effectLst/>
                          <a:latin typeface="Book Antiqua" panose="02040602050305030304" pitchFamily="18" charset="0"/>
                          <a:ea typeface="Calibri" panose="020F0502020204030204" pitchFamily="34" charset="0"/>
                          <a:cs typeface="Times New Roman" panose="02020603050405020304" pitchFamily="18" charset="0"/>
                        </a:rPr>
                        <a:t> </a:t>
                      </a:r>
                      <a:r>
                        <a:rPr lang="en-IN" sz="1500" i="1" strike="sngStrike" dirty="0">
                          <a:solidFill>
                            <a:srgbClr val="5B9BD5"/>
                          </a:solidFill>
                          <a:effectLst/>
                          <a:latin typeface="Book Antiqua" panose="02040602050305030304" pitchFamily="18" charset="0"/>
                          <a:ea typeface="Calibri" panose="020F0502020204030204" pitchFamily="34" charset="0"/>
                          <a:cs typeface="Times New Roman" panose="02020603050405020304" pitchFamily="18" charset="0"/>
                        </a:rPr>
                        <a:t>at its own cost</a:t>
                      </a:r>
                      <a:r>
                        <a:rPr lang="en-IN" sz="1500" i="1" dirty="0">
                          <a:solidFill>
                            <a:srgbClr val="5B9BD5"/>
                          </a:solidFill>
                          <a:effectLst/>
                          <a:latin typeface="Book Antiqua" panose="02040602050305030304" pitchFamily="18" charset="0"/>
                          <a:ea typeface="Calibri" panose="020F0502020204030204" pitchFamily="34" charset="0"/>
                          <a:cs typeface="Times New Roman" panose="02020603050405020304" pitchFamily="18" charset="0"/>
                        </a:rPr>
                        <a:t> </a:t>
                      </a:r>
                      <a:r>
                        <a:rPr lang="en-IN" sz="1500" i="1" dirty="0">
                          <a:effectLst/>
                          <a:latin typeface="Book Antiqua" panose="02040602050305030304" pitchFamily="18" charset="0"/>
                          <a:ea typeface="Calibri" panose="020F0502020204030204" pitchFamily="34" charset="0"/>
                          <a:cs typeface="Times New Roman" panose="02020603050405020304" pitchFamily="18" charset="0"/>
                        </a:rPr>
                        <a:t>for despatch of power of the generating station(s) or unit(s) thereof </a:t>
                      </a:r>
                      <a:r>
                        <a:rPr lang="en-US" sz="1500" i="1" dirty="0">
                          <a:solidFill>
                            <a:srgbClr val="2F5496"/>
                          </a:solidFill>
                          <a:effectLst/>
                          <a:latin typeface="Book Antiqua" panose="02040602050305030304" pitchFamily="18" charset="0"/>
                          <a:ea typeface="Calibri" panose="020F0502020204030204" pitchFamily="34" charset="0"/>
                          <a:cs typeface="Times New Roman" panose="02020603050405020304" pitchFamily="18" charset="0"/>
                        </a:rPr>
                        <a:t>which shall be implemented by concerned inter-State transmission licensee(s) at its own cost</a:t>
                      </a:r>
                      <a:r>
                        <a:rPr lang="en-US" sz="1500" i="1" dirty="0">
                          <a:effectLst/>
                          <a:latin typeface="Book Antiqua" panose="02040602050305030304" pitchFamily="18" charset="0"/>
                          <a:ea typeface="Calibri" panose="020F0502020204030204" pitchFamily="34" charset="0"/>
                          <a:cs typeface="Times New Roman" panose="02020603050405020304" pitchFamily="18" charset="0"/>
                        </a:rPr>
                        <a:t> </a:t>
                      </a:r>
                      <a:r>
                        <a:rPr lang="en-IN" sz="1500" i="1" strike="sngStrike" dirty="0">
                          <a:solidFill>
                            <a:srgbClr val="5B9BD5"/>
                          </a:solidFill>
                          <a:effectLst/>
                          <a:latin typeface="Book Antiqua" panose="02040602050305030304" pitchFamily="18" charset="0"/>
                          <a:ea typeface="Calibri" panose="020F0502020204030204" pitchFamily="34" charset="0"/>
                          <a:cs typeface="Times New Roman" panose="02020603050405020304" pitchFamily="18" charset="0"/>
                        </a:rPr>
                        <a:t>in consultation with the Central Transmission Utility</a:t>
                      </a:r>
                      <a:r>
                        <a:rPr lang="en-IN" sz="1500" i="1" dirty="0">
                          <a:effectLst/>
                          <a:latin typeface="Book Antiqua" panose="02040602050305030304" pitchFamily="18" charset="0"/>
                          <a:ea typeface="Calibri" panose="020F0502020204030204" pitchFamily="34" charset="0"/>
                          <a:cs typeface="Times New Roman" panose="02020603050405020304" pitchFamily="18" charset="0"/>
                        </a:rPr>
                        <a:t>:</a:t>
                      </a:r>
                      <a:endParaRPr lang="en-US" sz="1500" dirty="0">
                        <a:effectLst/>
                        <a:latin typeface="Calibri" panose="020F0502020204030204" pitchFamily="34" charset="0"/>
                        <a:ea typeface="Calibri" panose="020F0502020204030204" pitchFamily="34" charset="0"/>
                        <a:cs typeface="Mangal" panose="02040503050203030202"/>
                      </a:endParaRPr>
                    </a:p>
                    <a:p>
                      <a:pPr marL="0" marR="0" algn="just">
                        <a:lnSpc>
                          <a:spcPct val="107000"/>
                        </a:lnSpc>
                        <a:spcBef>
                          <a:spcPts val="0"/>
                        </a:spcBef>
                        <a:spcAft>
                          <a:spcPts val="0"/>
                        </a:spcAft>
                      </a:pPr>
                      <a:r>
                        <a:rPr lang="en-IN" sz="1500" i="1" dirty="0">
                          <a:effectLst/>
                          <a:latin typeface="Book Antiqua" panose="02040602050305030304" pitchFamily="18" charset="0"/>
                          <a:ea typeface="Calibri" panose="020F0502020204030204" pitchFamily="34" charset="0"/>
                          <a:cs typeface="Times New Roman" panose="02020603050405020304" pitchFamily="18" charset="0"/>
                        </a:rPr>
                        <a:t> </a:t>
                      </a:r>
                      <a:endParaRPr lang="en-US" sz="1500" dirty="0">
                        <a:effectLst/>
                        <a:latin typeface="Calibri" panose="020F0502020204030204" pitchFamily="34" charset="0"/>
                        <a:ea typeface="Calibri" panose="020F0502020204030204" pitchFamily="34" charset="0"/>
                        <a:cs typeface="Mangal" panose="02040503050203030202"/>
                      </a:endParaRPr>
                    </a:p>
                    <a:p>
                      <a:pPr marL="0" marR="0" algn="just">
                        <a:lnSpc>
                          <a:spcPct val="107000"/>
                        </a:lnSpc>
                        <a:spcBef>
                          <a:spcPts val="0"/>
                        </a:spcBef>
                        <a:spcAft>
                          <a:spcPts val="0"/>
                        </a:spcAft>
                      </a:pPr>
                      <a:r>
                        <a:rPr lang="en-IN" sz="1500" i="1" dirty="0">
                          <a:effectLst/>
                          <a:latin typeface="Book Antiqua" panose="02040602050305030304" pitchFamily="18" charset="0"/>
                          <a:ea typeface="Calibri" panose="020F0502020204030204" pitchFamily="34" charset="0"/>
                          <a:cs typeface="Times New Roman" panose="02020603050405020304" pitchFamily="18" charset="0"/>
                        </a:rPr>
                        <a:t>Provided that till such alternate arrangement is made, the inter-State transmission licensee(s) shall pay to the generating station, the Yearly Transmission Charge corresponding to the quantum of </a:t>
                      </a:r>
                      <a:r>
                        <a:rPr lang="en-IN" sz="1500" i="1" strike="sngStrike" dirty="0">
                          <a:solidFill>
                            <a:srgbClr val="FF0000"/>
                          </a:solidFill>
                          <a:effectLst/>
                          <a:latin typeface="Book Antiqua" panose="02040602050305030304" pitchFamily="18" charset="0"/>
                          <a:ea typeface="Calibri" panose="020F0502020204030204" pitchFamily="34" charset="0"/>
                          <a:cs typeface="Times New Roman" panose="02020603050405020304" pitchFamily="18" charset="0"/>
                        </a:rPr>
                        <a:t>Long Term Access</a:t>
                      </a:r>
                      <a:r>
                        <a:rPr lang="en-IN" sz="1500" i="1" dirty="0">
                          <a:solidFill>
                            <a:srgbClr val="FF0000"/>
                          </a:solidFill>
                          <a:effectLst/>
                          <a:latin typeface="Book Antiqua" panose="02040602050305030304" pitchFamily="18" charset="0"/>
                          <a:ea typeface="Calibri" panose="020F0502020204030204" pitchFamily="34" charset="0"/>
                          <a:cs typeface="Times New Roman" panose="02020603050405020304" pitchFamily="18" charset="0"/>
                        </a:rPr>
                        <a:t> Connectivity </a:t>
                      </a:r>
                      <a:r>
                        <a:rPr lang="en-IN" sz="1500" i="1" dirty="0">
                          <a:effectLst/>
                          <a:latin typeface="Book Antiqua" panose="02040602050305030304" pitchFamily="18" charset="0"/>
                          <a:ea typeface="Calibri" panose="020F0502020204030204" pitchFamily="34" charset="0"/>
                          <a:cs typeface="Times New Roman" panose="02020603050405020304" pitchFamily="18" charset="0"/>
                        </a:rPr>
                        <a:t>for the period for which the transmission system has got delayed</a:t>
                      </a:r>
                      <a:r>
                        <a:rPr lang="en-IN" sz="1500" i="1" dirty="0" smtClean="0">
                          <a:effectLst/>
                          <a:latin typeface="Book Antiqua" panose="02040602050305030304" pitchFamily="18" charset="0"/>
                          <a:ea typeface="Calibri" panose="020F0502020204030204" pitchFamily="34" charset="0"/>
                          <a:cs typeface="Times New Roman" panose="02020603050405020304" pitchFamily="18" charset="0"/>
                        </a:rPr>
                        <a:t>.</a:t>
                      </a:r>
                      <a:endParaRPr lang="en-US" sz="1500" dirty="0">
                        <a:effectLst/>
                        <a:latin typeface="Calibri" panose="020F0502020204030204" pitchFamily="34" charset="0"/>
                        <a:ea typeface="Calibri" panose="020F0502020204030204" pitchFamily="34" charset="0"/>
                        <a:cs typeface="Mangal" panose="02040503050203030202"/>
                      </a:endParaRPr>
                    </a:p>
                  </a:txBody>
                  <a:tcPr marL="38683" marR="3868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601210993"/>
                  </a:ext>
                </a:extLst>
              </a:tr>
            </a:tbl>
          </a:graphicData>
        </a:graphic>
      </p:graphicFrame>
    </p:spTree>
    <p:extLst>
      <p:ext uri="{BB962C8B-B14F-4D97-AF65-F5344CB8AC3E}">
        <p14:creationId xmlns:p14="http://schemas.microsoft.com/office/powerpoint/2010/main" val="87817070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Picture 1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442931" y="-1"/>
            <a:ext cx="1718589" cy="547801"/>
          </a:xfrm>
          <a:prstGeom prst="rect">
            <a:avLst/>
          </a:prstGeom>
        </p:spPr>
      </p:pic>
      <p:sp>
        <p:nvSpPr>
          <p:cNvPr id="16" name="TextBox 15"/>
          <p:cNvSpPr txBox="1"/>
          <p:nvPr/>
        </p:nvSpPr>
        <p:spPr>
          <a:xfrm>
            <a:off x="-1" y="0"/>
            <a:ext cx="10442932" cy="523220"/>
          </a:xfrm>
          <a:prstGeom prst="rect">
            <a:avLst/>
          </a:prstGeom>
          <a:noFill/>
        </p:spPr>
        <p:txBody>
          <a:bodyPr wrap="square" rtlCol="0">
            <a:spAutoFit/>
          </a:bodyPr>
          <a:lstStyle/>
          <a:p>
            <a:pPr lvl="0">
              <a:defRPr/>
            </a:pPr>
            <a:r>
              <a:rPr lang="en-US" sz="2800" b="1" dirty="0">
                <a:solidFill>
                  <a:prstClr val="white"/>
                </a:solidFill>
                <a:latin typeface="Book Antiqua" panose="02040602050305030304" pitchFamily="18" charset="0"/>
                <a:cs typeface="Arial" panose="020B0604020202020204" pitchFamily="34" charset="0"/>
              </a:rPr>
              <a:t>Additional comments on Mismatch Issue</a:t>
            </a:r>
          </a:p>
        </p:txBody>
      </p:sp>
      <p:sp>
        <p:nvSpPr>
          <p:cNvPr id="2" name="Rectangle 1"/>
          <p:cNvSpPr/>
          <p:nvPr/>
        </p:nvSpPr>
        <p:spPr>
          <a:xfrm>
            <a:off x="161924" y="523220"/>
            <a:ext cx="11877676" cy="5940088"/>
          </a:xfrm>
          <a:prstGeom prst="rect">
            <a:avLst/>
          </a:prstGeom>
        </p:spPr>
        <p:txBody>
          <a:bodyPr wrap="square">
            <a:spAutoFit/>
          </a:bodyPr>
          <a:lstStyle/>
          <a:p>
            <a:pPr marL="342900" indent="-342900" algn="just">
              <a:buFont typeface="Arial" panose="020B0604020202020204" pitchFamily="34" charset="0"/>
              <a:buChar char="•"/>
            </a:pPr>
            <a:r>
              <a:rPr lang="en-IN" sz="2000" i="1" dirty="0" smtClean="0">
                <a:latin typeface="Book Antiqua" panose="02040602050305030304" pitchFamily="18" charset="0"/>
              </a:rPr>
              <a:t>ISTS </a:t>
            </a:r>
            <a:r>
              <a:rPr lang="en-IN" sz="2000" i="1" dirty="0">
                <a:latin typeface="Book Antiqua" panose="02040602050305030304" pitchFamily="18" charset="0"/>
              </a:rPr>
              <a:t>transmission element/project are being executed in both TBCB and RTM mode. Upstream and Downstream network consists of Generator, RTM/TBCB ISTS transmission elements of same or other transmission licensee and Intra state networks.</a:t>
            </a:r>
            <a:endParaRPr lang="en-US" sz="2000" i="1" dirty="0">
              <a:latin typeface="Book Antiqua" panose="02040602050305030304" pitchFamily="18" charset="0"/>
            </a:endParaRPr>
          </a:p>
          <a:p>
            <a:pPr algn="just"/>
            <a:r>
              <a:rPr lang="en-IN" sz="2000" i="1" dirty="0">
                <a:latin typeface="Book Antiqua" panose="02040602050305030304" pitchFamily="18" charset="0"/>
              </a:rPr>
              <a:t> </a:t>
            </a:r>
            <a:endParaRPr lang="en-US" sz="2000" i="1" dirty="0">
              <a:latin typeface="Book Antiqua" panose="02040602050305030304" pitchFamily="18" charset="0"/>
            </a:endParaRPr>
          </a:p>
          <a:p>
            <a:pPr marL="342900" indent="-342900" algn="just">
              <a:buFont typeface="Arial" panose="020B0604020202020204" pitchFamily="34" charset="0"/>
              <a:buChar char="•"/>
            </a:pPr>
            <a:r>
              <a:rPr lang="en-IN" sz="2000" i="1" dirty="0">
                <a:latin typeface="Book Antiqua" panose="02040602050305030304" pitchFamily="18" charset="0"/>
              </a:rPr>
              <a:t>Generation, Transmission and distribution are distinct businesses with inherent different time lines for implementation, risk factors and challenges associated with them.  </a:t>
            </a:r>
            <a:r>
              <a:rPr lang="en-IN" sz="2000" b="1" i="1" dirty="0">
                <a:latin typeface="Book Antiqua" panose="02040602050305030304" pitchFamily="18" charset="0"/>
              </a:rPr>
              <a:t>All infrastructure projects particularly linear projects such as transmission projects are prone to delay due to factors beyond the control of the developers and despite best-coordinated efforts, mismatch in some cases is unavoidable.</a:t>
            </a:r>
            <a:r>
              <a:rPr lang="en-IN" sz="2000" i="1" dirty="0">
                <a:latin typeface="Book Antiqua" panose="02040602050305030304" pitchFamily="18" charset="0"/>
              </a:rPr>
              <a:t> </a:t>
            </a:r>
            <a:endParaRPr lang="en-IN" sz="2000" i="1" dirty="0" smtClean="0">
              <a:latin typeface="Book Antiqua" panose="02040602050305030304" pitchFamily="18" charset="0"/>
            </a:endParaRPr>
          </a:p>
          <a:p>
            <a:pPr marL="342900" indent="-342900" algn="just">
              <a:buFont typeface="Arial" panose="020B0604020202020204" pitchFamily="34" charset="0"/>
              <a:buChar char="•"/>
            </a:pPr>
            <a:endParaRPr lang="en-IN" sz="2000" i="1" dirty="0">
              <a:latin typeface="Book Antiqua" panose="02040602050305030304" pitchFamily="18" charset="0"/>
            </a:endParaRPr>
          </a:p>
          <a:p>
            <a:pPr marL="342900" indent="-342900" algn="just">
              <a:buFont typeface="Arial" panose="020B0604020202020204" pitchFamily="34" charset="0"/>
              <a:buChar char="•"/>
            </a:pPr>
            <a:r>
              <a:rPr lang="en-IN" sz="2000" i="1" dirty="0" smtClean="0">
                <a:latin typeface="Book Antiqua" panose="02040602050305030304" pitchFamily="18" charset="0"/>
              </a:rPr>
              <a:t>Further, there </a:t>
            </a:r>
            <a:r>
              <a:rPr lang="en-IN" sz="2000" i="1" dirty="0">
                <a:latin typeface="Book Antiqua" panose="02040602050305030304" pitchFamily="18" charset="0"/>
              </a:rPr>
              <a:t>can be great difference in scope of work of the two Transmission Licensees e.g., one Transmission Licensee will make the line whereas other Transmission Licensee will make the substation bays. Therefore, </a:t>
            </a:r>
            <a:r>
              <a:rPr lang="en-IN" sz="2000" b="1" i="1" dirty="0">
                <a:latin typeface="Book Antiqua" panose="02040602050305030304" pitchFamily="18" charset="0"/>
              </a:rPr>
              <a:t>present philosophy of bilateral billing under regulation 13. (12) leads to a situation where a Transmission Licensee’s liability is left open and may not be commensurate with its investment.  </a:t>
            </a:r>
            <a:endParaRPr lang="en-US" sz="2000" b="1" i="1" dirty="0">
              <a:latin typeface="Book Antiqua" panose="02040602050305030304" pitchFamily="18" charset="0"/>
            </a:endParaRPr>
          </a:p>
          <a:p>
            <a:pPr algn="just"/>
            <a:endParaRPr lang="en-US" sz="2000" i="1" dirty="0">
              <a:latin typeface="Book Antiqua" panose="02040602050305030304" pitchFamily="18" charset="0"/>
            </a:endParaRPr>
          </a:p>
          <a:p>
            <a:pPr marL="342900" indent="-342900" algn="just">
              <a:buFont typeface="Arial" panose="020B0604020202020204" pitchFamily="34" charset="0"/>
              <a:buChar char="•"/>
            </a:pPr>
            <a:r>
              <a:rPr lang="en-IN" sz="2000" b="1" i="1" dirty="0">
                <a:latin typeface="Book Antiqua" panose="02040602050305030304" pitchFamily="18" charset="0"/>
              </a:rPr>
              <a:t>Issue regarding mismatch charges payable by generators has largely been addressed with notification of GNA regulations </a:t>
            </a:r>
            <a:r>
              <a:rPr lang="en-IN" sz="2000" i="1" dirty="0">
                <a:latin typeface="Book Antiqua" panose="02040602050305030304" pitchFamily="18" charset="0"/>
              </a:rPr>
              <a:t>wherein the same has been made rational and predefined. However, mismatch charges payable by transmission licensees is still an area of concern and it is required that their liabilities under mismatch conditions are similarly made rational and predefined. </a:t>
            </a:r>
            <a:endParaRPr lang="en-US" sz="2000" i="1" dirty="0">
              <a:latin typeface="Book Antiqua" panose="02040602050305030304" pitchFamily="18" charset="0"/>
            </a:endParaRPr>
          </a:p>
          <a:p>
            <a:pPr algn="just"/>
            <a:r>
              <a:rPr lang="en-IN" sz="2000" i="1" dirty="0">
                <a:latin typeface="Book Antiqua" panose="02040602050305030304" pitchFamily="18" charset="0"/>
              </a:rPr>
              <a:t> </a:t>
            </a:r>
            <a:endParaRPr lang="en-US" sz="2000" i="1" dirty="0">
              <a:latin typeface="Book Antiqua" panose="02040602050305030304" pitchFamily="18" charset="0"/>
            </a:endParaRPr>
          </a:p>
        </p:txBody>
      </p:sp>
    </p:spTree>
    <p:extLst>
      <p:ext uri="{BB962C8B-B14F-4D97-AF65-F5344CB8AC3E}">
        <p14:creationId xmlns:p14="http://schemas.microsoft.com/office/powerpoint/2010/main" val="54972399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Picture 1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442931" y="-1"/>
            <a:ext cx="1718589" cy="547801"/>
          </a:xfrm>
          <a:prstGeom prst="rect">
            <a:avLst/>
          </a:prstGeom>
        </p:spPr>
      </p:pic>
      <p:sp>
        <p:nvSpPr>
          <p:cNvPr id="16" name="TextBox 15"/>
          <p:cNvSpPr txBox="1"/>
          <p:nvPr/>
        </p:nvSpPr>
        <p:spPr>
          <a:xfrm>
            <a:off x="-1" y="0"/>
            <a:ext cx="10442932" cy="523220"/>
          </a:xfrm>
          <a:prstGeom prst="rect">
            <a:avLst/>
          </a:prstGeom>
          <a:noFill/>
        </p:spPr>
        <p:txBody>
          <a:bodyPr wrap="square" rtlCol="0">
            <a:spAutoFit/>
          </a:bodyPr>
          <a:lstStyle/>
          <a:p>
            <a:pPr lvl="0">
              <a:defRPr/>
            </a:pPr>
            <a:r>
              <a:rPr lang="en-US" sz="2800" b="1" dirty="0">
                <a:solidFill>
                  <a:prstClr val="white"/>
                </a:solidFill>
                <a:latin typeface="Book Antiqua" panose="02040602050305030304" pitchFamily="18" charset="0"/>
                <a:cs typeface="Arial" panose="020B0604020202020204" pitchFamily="34" charset="0"/>
              </a:rPr>
              <a:t>Additional comments on Mismatch Issue</a:t>
            </a:r>
          </a:p>
        </p:txBody>
      </p:sp>
      <p:sp>
        <p:nvSpPr>
          <p:cNvPr id="2" name="Rectangle 1"/>
          <p:cNvSpPr/>
          <p:nvPr/>
        </p:nvSpPr>
        <p:spPr>
          <a:xfrm>
            <a:off x="161924" y="523220"/>
            <a:ext cx="11877676" cy="5632311"/>
          </a:xfrm>
          <a:prstGeom prst="rect">
            <a:avLst/>
          </a:prstGeom>
        </p:spPr>
        <p:txBody>
          <a:bodyPr wrap="square">
            <a:spAutoFit/>
          </a:bodyPr>
          <a:lstStyle/>
          <a:p>
            <a:pPr marL="342900" indent="-342900" algn="just">
              <a:buFont typeface="Arial" panose="020B0604020202020204" pitchFamily="34" charset="0"/>
              <a:buChar char="•"/>
            </a:pPr>
            <a:r>
              <a:rPr lang="en-US" sz="2000" i="1" dirty="0" smtClean="0">
                <a:latin typeface="Book Antiqua" panose="02040602050305030304" pitchFamily="18" charset="0"/>
              </a:rPr>
              <a:t>Suggestions</a:t>
            </a:r>
            <a:r>
              <a:rPr lang="en-US" sz="2000" i="1" dirty="0">
                <a:latin typeface="Book Antiqua" panose="02040602050305030304" pitchFamily="18" charset="0"/>
              </a:rPr>
              <a:t>: In view of the </a:t>
            </a:r>
            <a:r>
              <a:rPr lang="en-US" sz="2000" i="1" dirty="0" smtClean="0">
                <a:latin typeface="Book Antiqua" panose="02040602050305030304" pitchFamily="18" charset="0"/>
              </a:rPr>
              <a:t>discussion, </a:t>
            </a:r>
            <a:r>
              <a:rPr lang="en-US" sz="2000" i="1" dirty="0">
                <a:latin typeface="Book Antiqua" panose="02040602050305030304" pitchFamily="18" charset="0"/>
              </a:rPr>
              <a:t>following is proposed:  </a:t>
            </a:r>
            <a:endParaRPr lang="en-US" sz="2000" i="1" dirty="0" smtClean="0">
              <a:latin typeface="Book Antiqua" panose="02040602050305030304" pitchFamily="18" charset="0"/>
            </a:endParaRPr>
          </a:p>
          <a:p>
            <a:pPr algn="just"/>
            <a:endParaRPr lang="en-US" sz="2000" i="1" dirty="0" smtClean="0">
              <a:latin typeface="Book Antiqua" panose="02040602050305030304" pitchFamily="18" charset="0"/>
            </a:endParaRPr>
          </a:p>
          <a:p>
            <a:pPr marL="800100" lvl="1" indent="-342900" algn="just">
              <a:buFont typeface="Courier New" panose="02070309020205020404" pitchFamily="49" charset="0"/>
              <a:buChar char="o"/>
            </a:pPr>
            <a:r>
              <a:rPr lang="en-US" sz="2000" i="1" dirty="0" smtClean="0">
                <a:latin typeface="Book Antiqua" panose="02040602050305030304" pitchFamily="18" charset="0"/>
              </a:rPr>
              <a:t>Transmission </a:t>
            </a:r>
            <a:r>
              <a:rPr lang="en-US" sz="2000" i="1" dirty="0">
                <a:latin typeface="Book Antiqua" panose="02040602050305030304" pitchFamily="18" charset="0"/>
              </a:rPr>
              <a:t>project </a:t>
            </a:r>
            <a:r>
              <a:rPr lang="en-US" sz="2000" i="1" dirty="0" smtClean="0">
                <a:latin typeface="Book Antiqua" panose="02040602050305030304" pitchFamily="18" charset="0"/>
              </a:rPr>
              <a:t>may </a:t>
            </a:r>
            <a:r>
              <a:rPr lang="en-US" sz="2000" i="1" dirty="0">
                <a:latin typeface="Book Antiqua" panose="02040602050305030304" pitchFamily="18" charset="0"/>
              </a:rPr>
              <a:t>be allowed to recover its tariff from POC pool i.e. under Regulation 5 to 8 of Sharing Regulations, 2020 in cases of delay by associated upstream/ downstream entity. In cases where both </a:t>
            </a:r>
            <a:r>
              <a:rPr lang="en-US" sz="2000" i="1" dirty="0" err="1">
                <a:latin typeface="Book Antiqua" panose="02040602050305030304" pitchFamily="18" charset="0"/>
              </a:rPr>
              <a:t>tr</a:t>
            </a:r>
            <a:r>
              <a:rPr lang="en-US" sz="2000" i="1" dirty="0">
                <a:latin typeface="Book Antiqua" panose="02040602050305030304" pitchFamily="18" charset="0"/>
              </a:rPr>
              <a:t> licensees are delayed due to force majeure events, they may be allowed to get relief as per provision for extent Tariff regulations on RTM and TSA in TBCB as the case may be.</a:t>
            </a:r>
          </a:p>
          <a:p>
            <a:pPr lvl="1" algn="just"/>
            <a:endParaRPr lang="en-US" sz="2000" i="1" dirty="0" smtClean="0">
              <a:latin typeface="Book Antiqua" panose="02040602050305030304" pitchFamily="18" charset="0"/>
            </a:endParaRPr>
          </a:p>
          <a:p>
            <a:pPr marL="800100" lvl="1" indent="-342900" algn="just">
              <a:buFont typeface="Courier New" panose="02070309020205020404" pitchFamily="49" charset="0"/>
              <a:buChar char="o"/>
            </a:pPr>
            <a:r>
              <a:rPr lang="en-US" sz="2000" i="1" dirty="0" smtClean="0">
                <a:latin typeface="Book Antiqua" panose="02040602050305030304" pitchFamily="18" charset="0"/>
              </a:rPr>
              <a:t>In </a:t>
            </a:r>
            <a:r>
              <a:rPr lang="en-US" sz="2000" i="1" dirty="0">
                <a:latin typeface="Book Antiqua" panose="02040602050305030304" pitchFamily="18" charset="0"/>
              </a:rPr>
              <a:t>case where delay is not on account of Force Majeure conditions, adequate provisions are available under Regulation/TSA provides for deduction/LD as a penalty. TSA provides for levy of LD on TSP and similarly IDC &amp; IEDC is disallowed for RTM. Therefore, no additional penalty in form of mismatch charges be imposed on the TSP on account of delay.</a:t>
            </a:r>
          </a:p>
          <a:p>
            <a:pPr marL="800100" lvl="1" indent="-342900" algn="just">
              <a:buFont typeface="Courier New" panose="02070309020205020404" pitchFamily="49" charset="0"/>
              <a:buChar char="o"/>
            </a:pPr>
            <a:endParaRPr lang="en-US" sz="2000" i="1" dirty="0">
              <a:latin typeface="Book Antiqua" panose="02040602050305030304" pitchFamily="18" charset="0"/>
            </a:endParaRPr>
          </a:p>
          <a:p>
            <a:pPr marL="800100" lvl="1" indent="-342900" algn="just">
              <a:buFont typeface="Courier New" panose="02070309020205020404" pitchFamily="49" charset="0"/>
              <a:buChar char="o"/>
            </a:pPr>
            <a:r>
              <a:rPr lang="en-US" sz="2000" i="1" dirty="0" smtClean="0">
                <a:latin typeface="Book Antiqua" panose="02040602050305030304" pitchFamily="18" charset="0"/>
              </a:rPr>
              <a:t>If </a:t>
            </a:r>
            <a:r>
              <a:rPr lang="en-US" sz="2000" i="1" dirty="0">
                <a:latin typeface="Book Antiqua" panose="02040602050305030304" pitchFamily="18" charset="0"/>
              </a:rPr>
              <a:t>necessary and required, a predefined liability restricting it to certain fixed % of the Yearly transmission charge of the delayed element or some reasonable amount for week of delay may be imposed on the TSP which shall be returned to the pool upon its recovery. This </a:t>
            </a:r>
            <a:r>
              <a:rPr lang="en-US" sz="2000" i="1">
                <a:latin typeface="Book Antiqua" panose="02040602050305030304" pitchFamily="18" charset="0"/>
              </a:rPr>
              <a:t>will </a:t>
            </a:r>
            <a:r>
              <a:rPr lang="en-US" sz="2000" i="1" smtClean="0">
                <a:latin typeface="Book Antiqua" panose="02040602050305030304" pitchFamily="18" charset="0"/>
              </a:rPr>
              <a:t>ensure </a:t>
            </a:r>
            <a:r>
              <a:rPr lang="en-US" sz="2000" i="1" dirty="0">
                <a:latin typeface="Book Antiqua" panose="02040602050305030304" pitchFamily="18" charset="0"/>
              </a:rPr>
              <a:t>seriousness on the part of TSPs and will also help in reducing tariff burden on the DICs.</a:t>
            </a:r>
          </a:p>
          <a:p>
            <a:pPr algn="just"/>
            <a:endParaRPr lang="en-US" sz="2000" i="1" dirty="0" smtClean="0">
              <a:latin typeface="Book Antiqua" panose="02040602050305030304" pitchFamily="18" charset="0"/>
            </a:endParaRPr>
          </a:p>
          <a:p>
            <a:pPr algn="just"/>
            <a:r>
              <a:rPr lang="en-IN" sz="2000" i="1" dirty="0">
                <a:latin typeface="Book Antiqua" panose="02040602050305030304" pitchFamily="18" charset="0"/>
              </a:rPr>
              <a:t> </a:t>
            </a:r>
            <a:endParaRPr lang="en-US" sz="2000" i="1" dirty="0">
              <a:latin typeface="Book Antiqua" panose="02040602050305030304" pitchFamily="18" charset="0"/>
            </a:endParaRPr>
          </a:p>
        </p:txBody>
      </p:sp>
    </p:spTree>
    <p:extLst>
      <p:ext uri="{BB962C8B-B14F-4D97-AF65-F5344CB8AC3E}">
        <p14:creationId xmlns:p14="http://schemas.microsoft.com/office/powerpoint/2010/main" val="138669947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0E4D8680-AFCE-44D4-ABFE-6BDC5744CF70}"/>
              </a:ext>
            </a:extLst>
          </p:cNvPr>
          <p:cNvSpPr/>
          <p:nvPr/>
        </p:nvSpPr>
        <p:spPr>
          <a:xfrm>
            <a:off x="0" y="2971800"/>
            <a:ext cx="12192000" cy="936104"/>
          </a:xfrm>
          <a:prstGeom prst="rect">
            <a:avLst/>
          </a:prstGeom>
          <a:solidFill>
            <a:srgbClr val="8EE4D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 name="TextBox 6">
            <a:extLst>
              <a:ext uri="{FF2B5EF4-FFF2-40B4-BE49-F238E27FC236}">
                <a16:creationId xmlns:a16="http://schemas.microsoft.com/office/drawing/2014/main" id="{9C8979E5-17F8-4306-BA15-F4020AC9731E}"/>
              </a:ext>
            </a:extLst>
          </p:cNvPr>
          <p:cNvSpPr txBox="1"/>
          <p:nvPr/>
        </p:nvSpPr>
        <p:spPr>
          <a:xfrm>
            <a:off x="2514600" y="2971800"/>
            <a:ext cx="6858000" cy="1029256"/>
          </a:xfrm>
          <a:prstGeom prst="rect">
            <a:avLst/>
          </a:prstGeom>
          <a:noFill/>
        </p:spPr>
        <p:txBody>
          <a:bodyPr wrap="square" lIns="0" rIns="0" rtlCol="0" anchor="b">
            <a:sp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US" sz="6000" b="1" i="0" u="none" strike="noStrike" kern="1200" cap="none" spc="35" normalizeH="0" baseline="0" noProof="0" dirty="0">
                <a:ln>
                  <a:noFill/>
                </a:ln>
                <a:solidFill>
                  <a:srgbClr val="44546A"/>
                </a:solidFill>
                <a:effectLst/>
                <a:uLnTx/>
                <a:uFillTx/>
                <a:latin typeface="Arial"/>
                <a:ea typeface="+mn-ea"/>
                <a:cs typeface="Arial"/>
              </a:rPr>
              <a:t>THANK YOU</a:t>
            </a:r>
          </a:p>
        </p:txBody>
      </p:sp>
    </p:spTree>
    <p:extLst>
      <p:ext uri="{BB962C8B-B14F-4D97-AF65-F5344CB8AC3E}">
        <p14:creationId xmlns:p14="http://schemas.microsoft.com/office/powerpoint/2010/main" val="190370407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1.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12.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3.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14.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15.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6.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7.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8.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dUVaNioeQEy1srSxzx_jY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NAME" val="Moon"/>
</p:tagLst>
</file>

<file path=ppt/tags/tag4.xml><?xml version="1.0" encoding="utf-8"?>
<p:tagLst xmlns:a="http://schemas.openxmlformats.org/drawingml/2006/main" xmlns:r="http://schemas.openxmlformats.org/officeDocument/2006/relationships" xmlns:p="http://schemas.openxmlformats.org/presentationml/2006/main">
  <p:tag name="NAME" val="Moon"/>
</p:tagLst>
</file>

<file path=ppt/tags/tag5.xml><?xml version="1.0" encoding="utf-8"?>
<p:tagLst xmlns:a="http://schemas.openxmlformats.org/drawingml/2006/main" xmlns:r="http://schemas.openxmlformats.org/officeDocument/2006/relationships" xmlns:p="http://schemas.openxmlformats.org/presentationml/2006/main">
  <p:tag name="NAME" val="Moon"/>
</p:tagLst>
</file>

<file path=ppt/tags/tag6.xml><?xml version="1.0" encoding="utf-8"?>
<p:tagLst xmlns:a="http://schemas.openxmlformats.org/drawingml/2006/main" xmlns:r="http://schemas.openxmlformats.org/officeDocument/2006/relationships" xmlns:p="http://schemas.openxmlformats.org/presentationml/2006/main">
  <p:tag name="NAME" val="Moon"/>
</p:tagLst>
</file>

<file path=ppt/tags/tag7.xml><?xml version="1.0" encoding="utf-8"?>
<p:tagLst xmlns:a="http://schemas.openxmlformats.org/drawingml/2006/main" xmlns:r="http://schemas.openxmlformats.org/officeDocument/2006/relationships" xmlns:p="http://schemas.openxmlformats.org/presentationml/2006/main">
  <p:tag name="NAME" val="Moon"/>
</p:tagLst>
</file>

<file path=ppt/tags/tag8.xml><?xml version="1.0" encoding="utf-8"?>
<p:tagLst xmlns:a="http://schemas.openxmlformats.org/drawingml/2006/main" xmlns:r="http://schemas.openxmlformats.org/officeDocument/2006/relationships" xmlns:p="http://schemas.openxmlformats.org/presentationml/2006/main">
  <p:tag name="NAME" val="Moon"/>
</p:tagLst>
</file>

<file path=ppt/tags/tag9.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heme/theme1.xml><?xml version="1.0" encoding="utf-8"?>
<a:theme xmlns:a="http://schemas.openxmlformats.org/drawingml/2006/main" name="Etihad Aviation Group_CF_AE0224">
  <a:themeElements>
    <a:clrScheme name="Decathlon">
      <a:dk1>
        <a:sysClr val="windowText" lastClr="000000"/>
      </a:dk1>
      <a:lt1>
        <a:sysClr val="window" lastClr="FFFFFF"/>
      </a:lt1>
      <a:dk2>
        <a:srgbClr val="44546A"/>
      </a:dk2>
      <a:lt2>
        <a:srgbClr val="E7E6E6"/>
      </a:lt2>
      <a:accent1>
        <a:srgbClr val="0072B5"/>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noFill/>
        </a:ln>
      </a:spPr>
      <a:bodyPr rtlCol="0" anchor="ctr"/>
      <a:lstStyle>
        <a:defPPr algn="ctr">
          <a:defRPr sz="1600" b="1" dirty="0" err="1" smtClean="0">
            <a:solidFill>
              <a:schemeClr val="accent4"/>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0000"/>
        </a:dk1>
        <a:lt1>
          <a:srgbClr val="FFFFFF"/>
        </a:lt1>
        <a:dk2>
          <a:srgbClr val="311820"/>
        </a:dk2>
        <a:lt2>
          <a:srgbClr val="FFFFFF"/>
        </a:lt2>
        <a:accent1>
          <a:srgbClr val="F2C664"/>
        </a:accent1>
        <a:accent2>
          <a:srgbClr val="BE788E"/>
        </a:accent2>
        <a:accent3>
          <a:srgbClr val="8A4258"/>
        </a:accent3>
        <a:accent4>
          <a:srgbClr val="311820"/>
        </a:accent4>
        <a:accent5>
          <a:srgbClr val="E8A811"/>
        </a:accent5>
        <a:accent6>
          <a:srgbClr val="808080"/>
        </a:accent6>
        <a:hlink>
          <a:srgbClr val="8A4258"/>
        </a:hlink>
        <a:folHlink>
          <a:srgbClr val="311820"/>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Etihad Aviation Group_CF_AE0224.potx" id="{D15E7A95-7415-47F1-8C1E-4B089085B7B8}" vid="{92E183D8-0F31-49CF-9C4C-AF572A94EA21}"/>
    </a:ext>
  </a:extLst>
</a:theme>
</file>

<file path=ppt/theme/theme2.xml><?xml version="1.0" encoding="utf-8"?>
<a:theme xmlns:a="http://schemas.openxmlformats.org/drawingml/2006/main" name="1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10_Office Theme">
  <a:themeElements>
    <a:clrScheme name="Office Them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themeOverride>
</file>

<file path=docProps/app.xml><?xml version="1.0" encoding="utf-8"?>
<Properties xmlns="http://schemas.openxmlformats.org/officeDocument/2006/extended-properties" xmlns:vt="http://schemas.openxmlformats.org/officeDocument/2006/docPropsVTypes">
  <TotalTime>6483</TotalTime>
  <Words>944</Words>
  <Application>Microsoft Office PowerPoint</Application>
  <PresentationFormat>Widescreen</PresentationFormat>
  <Paragraphs>44</Paragraphs>
  <Slides>5</Slides>
  <Notes>4</Notes>
  <HiddenSlides>0</HiddenSlides>
  <MMClips>0</MMClips>
  <ScaleCrop>false</ScaleCrop>
  <HeadingPairs>
    <vt:vector size="8" baseType="variant">
      <vt:variant>
        <vt:lpstr>Fonts Used</vt:lpstr>
      </vt:variant>
      <vt:variant>
        <vt:i4>9</vt:i4>
      </vt:variant>
      <vt:variant>
        <vt:lpstr>Theme</vt:lpstr>
      </vt:variant>
      <vt:variant>
        <vt:i4>3</vt:i4>
      </vt:variant>
      <vt:variant>
        <vt:lpstr>Embedded OLE Servers</vt:lpstr>
      </vt:variant>
      <vt:variant>
        <vt:i4>1</vt:i4>
      </vt:variant>
      <vt:variant>
        <vt:lpstr>Slide Titles</vt:lpstr>
      </vt:variant>
      <vt:variant>
        <vt:i4>5</vt:i4>
      </vt:variant>
    </vt:vector>
  </HeadingPairs>
  <TitlesOfParts>
    <vt:vector size="18" baseType="lpstr">
      <vt:lpstr>Arial</vt:lpstr>
      <vt:lpstr>Book Antiqua</vt:lpstr>
      <vt:lpstr>Calibri</vt:lpstr>
      <vt:lpstr>Calibri Light</vt:lpstr>
      <vt:lpstr>Courier New</vt:lpstr>
      <vt:lpstr>Mangal</vt:lpstr>
      <vt:lpstr>Open Sans</vt:lpstr>
      <vt:lpstr>Times New Roman</vt:lpstr>
      <vt:lpstr>Titillium</vt:lpstr>
      <vt:lpstr>Etihad Aviation Group_CF_AE0224</vt:lpstr>
      <vt:lpstr>1_Office Theme</vt:lpstr>
      <vt:lpstr>10_Office Theme</vt:lpstr>
      <vt:lpstr>think-cell Slide</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Amit Chachan</dc:creator>
  <cp:lastModifiedBy>Amit Kumar Chachan {अमित कुमार चाचन}</cp:lastModifiedBy>
  <cp:revision>147</cp:revision>
  <dcterms:created xsi:type="dcterms:W3CDTF">2020-04-23T16:34:52Z</dcterms:created>
  <dcterms:modified xsi:type="dcterms:W3CDTF">2022-10-10T05:02:50Z</dcterms:modified>
</cp:coreProperties>
</file>